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82"/>
  </p:notesMasterIdLst>
  <p:handoutMasterIdLst>
    <p:handoutMasterId r:id="rId83"/>
  </p:handoutMasterIdLst>
  <p:sldIdLst>
    <p:sldId id="1634" r:id="rId2"/>
    <p:sldId id="1635" r:id="rId3"/>
    <p:sldId id="1636" r:id="rId4"/>
    <p:sldId id="1637" r:id="rId5"/>
    <p:sldId id="1638" r:id="rId6"/>
    <p:sldId id="1639" r:id="rId7"/>
    <p:sldId id="1640" r:id="rId8"/>
    <p:sldId id="1641" r:id="rId9"/>
    <p:sldId id="1642" r:id="rId10"/>
    <p:sldId id="1643" r:id="rId11"/>
    <p:sldId id="1644" r:id="rId12"/>
    <p:sldId id="1645" r:id="rId13"/>
    <p:sldId id="1646" r:id="rId14"/>
    <p:sldId id="1647" r:id="rId15"/>
    <p:sldId id="1648" r:id="rId16"/>
    <p:sldId id="1649" r:id="rId17"/>
    <p:sldId id="1650" r:id="rId18"/>
    <p:sldId id="1651" r:id="rId19"/>
    <p:sldId id="1652" r:id="rId20"/>
    <p:sldId id="1653" r:id="rId21"/>
    <p:sldId id="1654" r:id="rId22"/>
    <p:sldId id="1655" r:id="rId23"/>
    <p:sldId id="1656" r:id="rId24"/>
    <p:sldId id="1657" r:id="rId25"/>
    <p:sldId id="1658" r:id="rId26"/>
    <p:sldId id="1659" r:id="rId27"/>
    <p:sldId id="1660" r:id="rId28"/>
    <p:sldId id="1661" r:id="rId29"/>
    <p:sldId id="1662" r:id="rId30"/>
    <p:sldId id="1663" r:id="rId31"/>
    <p:sldId id="1664" r:id="rId32"/>
    <p:sldId id="1665" r:id="rId33"/>
    <p:sldId id="1666" r:id="rId34"/>
    <p:sldId id="1667" r:id="rId35"/>
    <p:sldId id="1668" r:id="rId36"/>
    <p:sldId id="1669" r:id="rId37"/>
    <p:sldId id="1670" r:id="rId38"/>
    <p:sldId id="1671" r:id="rId39"/>
    <p:sldId id="1672" r:id="rId40"/>
    <p:sldId id="1673" r:id="rId41"/>
    <p:sldId id="1674" r:id="rId42"/>
    <p:sldId id="1675" r:id="rId43"/>
    <p:sldId id="1676" r:id="rId44"/>
    <p:sldId id="1677" r:id="rId45"/>
    <p:sldId id="1678" r:id="rId46"/>
    <p:sldId id="1679" r:id="rId47"/>
    <p:sldId id="1680" r:id="rId48"/>
    <p:sldId id="1681" r:id="rId49"/>
    <p:sldId id="1682" r:id="rId50"/>
    <p:sldId id="1683" r:id="rId51"/>
    <p:sldId id="1684" r:id="rId52"/>
    <p:sldId id="1685" r:id="rId53"/>
    <p:sldId id="1686" r:id="rId54"/>
    <p:sldId id="1687" r:id="rId55"/>
    <p:sldId id="1688" r:id="rId56"/>
    <p:sldId id="1689" r:id="rId57"/>
    <p:sldId id="1690" r:id="rId58"/>
    <p:sldId id="1691" r:id="rId59"/>
    <p:sldId id="1692" r:id="rId60"/>
    <p:sldId id="1693" r:id="rId61"/>
    <p:sldId id="1694" r:id="rId62"/>
    <p:sldId id="1695" r:id="rId63"/>
    <p:sldId id="1696" r:id="rId64"/>
    <p:sldId id="1697" r:id="rId65"/>
    <p:sldId id="1698" r:id="rId66"/>
    <p:sldId id="1699" r:id="rId67"/>
    <p:sldId id="1700" r:id="rId68"/>
    <p:sldId id="1701" r:id="rId69"/>
    <p:sldId id="1702" r:id="rId70"/>
    <p:sldId id="1703" r:id="rId71"/>
    <p:sldId id="1704" r:id="rId72"/>
    <p:sldId id="1705" r:id="rId73"/>
    <p:sldId id="1706" r:id="rId74"/>
    <p:sldId id="1707" r:id="rId75"/>
    <p:sldId id="1708" r:id="rId76"/>
    <p:sldId id="1709" r:id="rId77"/>
    <p:sldId id="1710" r:id="rId78"/>
    <p:sldId id="1711" r:id="rId79"/>
    <p:sldId id="1712" r:id="rId80"/>
    <p:sldId id="1713" r:id="rId81"/>
  </p:sldIdLst>
  <p:sldSz cx="8961438" cy="6721475"/>
  <p:notesSz cx="6797675" cy="9926638"/>
  <p:custDataLst>
    <p:tags r:id="rId8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8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99"/>
    <a:srgbClr val="00CC99"/>
    <a:srgbClr val="009999"/>
    <a:srgbClr val="33CC33"/>
    <a:srgbClr val="D6F22E"/>
    <a:srgbClr val="EEFAA8"/>
    <a:srgbClr val="FF0000"/>
    <a:srgbClr val="FB4747"/>
    <a:srgbClr val="1D4098"/>
    <a:srgbClr val="33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76" autoAdjust="0"/>
    <p:restoredTop sz="97543" autoAdjust="0"/>
  </p:normalViewPr>
  <p:slideViewPr>
    <p:cSldViewPr snapToObjects="1">
      <p:cViewPr varScale="1">
        <p:scale>
          <a:sx n="82" d="100"/>
          <a:sy n="82" d="100"/>
        </p:scale>
        <p:origin x="-78" y="-678"/>
      </p:cViewPr>
      <p:guideLst>
        <p:guide orient="horz" pos="529"/>
        <p:guide pos="1886"/>
      </p:guideLst>
    </p:cSldViewPr>
  </p:slideViewPr>
  <p:outlineViewPr>
    <p:cViewPr>
      <p:scale>
        <a:sx n="33" d="100"/>
        <a:sy n="33" d="100"/>
      </p:scale>
      <p:origin x="0" y="31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74" d="100"/>
          <a:sy n="74" d="100"/>
        </p:scale>
        <p:origin x="-2154" y="-96"/>
      </p:cViewPr>
      <p:guideLst>
        <p:guide orient="horz" pos="3127"/>
        <p:guide pos="2142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tags" Target="tags/tag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notesMaster" Target="notesMasters/notesMaster1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handoutMaster" Target="handoutMasters/handoutMaster1.xml"/><Relationship Id="rId8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600" cy="492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72" tIns="44787" rIns="89572" bIns="44787" numCol="1" anchor="t" anchorCtr="0" compatLnSpc="1">
            <a:prstTxWarp prst="textNoShape">
              <a:avLst/>
            </a:prstTxWarp>
          </a:bodyPr>
          <a:lstStyle>
            <a:lvl1pPr defTabSz="897297">
              <a:defRPr sz="1200" b="0">
                <a:latin typeface="Times New Roman" pitchFamily="18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3075" y="1"/>
            <a:ext cx="2944600" cy="492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72" tIns="44787" rIns="89572" bIns="44787" numCol="1" anchor="t" anchorCtr="0" compatLnSpc="1">
            <a:prstTxWarp prst="textNoShape">
              <a:avLst/>
            </a:prstTxWarp>
          </a:bodyPr>
          <a:lstStyle>
            <a:lvl1pPr algn="r" defTabSz="897297">
              <a:defRPr sz="1200" b="0">
                <a:latin typeface="Times New Roman" pitchFamily="18" charset="0"/>
                <a:cs typeface="Arial" charset="0"/>
              </a:defRPr>
            </a:lvl1pPr>
          </a:lstStyle>
          <a:p>
            <a:pPr>
              <a:defRPr/>
            </a:pPr>
            <a:fld id="{7CEE615C-2E7F-4193-9DC4-31A52BE8C70C}" type="datetime1">
              <a:rPr lang="en-US"/>
              <a:pPr>
                <a:defRPr/>
              </a:pPr>
              <a:t>5/23/2014</a:t>
            </a:fld>
            <a:endParaRPr 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34277"/>
            <a:ext cx="2944600" cy="492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72" tIns="44787" rIns="89572" bIns="44787" numCol="1" anchor="b" anchorCtr="0" compatLnSpc="1">
            <a:prstTxWarp prst="textNoShape">
              <a:avLst/>
            </a:prstTxWarp>
          </a:bodyPr>
          <a:lstStyle>
            <a:lvl1pPr defTabSz="897297">
              <a:defRPr sz="1200" b="0">
                <a:latin typeface="Times New Roman" pitchFamily="18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3075" y="9434277"/>
            <a:ext cx="2944600" cy="4923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572" tIns="44787" rIns="89572" bIns="44787" numCol="1" anchor="b" anchorCtr="0" compatLnSpc="1">
            <a:prstTxWarp prst="textNoShape">
              <a:avLst/>
            </a:prstTxWarp>
          </a:bodyPr>
          <a:lstStyle>
            <a:lvl1pPr algn="r" defTabSz="897297">
              <a:defRPr sz="1200" b="0">
                <a:latin typeface="Times New Roman" pitchFamily="18" charset="0"/>
                <a:cs typeface="Arial" charset="0"/>
              </a:defRPr>
            </a:lvl1pPr>
          </a:lstStyle>
          <a:p>
            <a:pPr>
              <a:defRPr/>
            </a:pPr>
            <a:fld id="{A7FE7D28-0A51-4AB1-ABC8-B6D606D715B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1203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7" name="pg num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919378" y="9462866"/>
            <a:ext cx="541590" cy="168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897297">
              <a:defRPr sz="1100" b="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37B1496F-B3C4-4C21-9F54-E3016DA44D0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37" name="McK Separator" hidden="1"/>
          <p:cNvSpPr>
            <a:spLocks noChangeShapeType="1"/>
          </p:cNvSpPr>
          <p:nvPr/>
        </p:nvSpPr>
        <p:spPr bwMode="auto">
          <a:xfrm>
            <a:off x="816356" y="1505672"/>
            <a:ext cx="519672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1477" tIns="45738" rIns="91477" bIns="45738"/>
          <a:lstStyle/>
          <a:p>
            <a:pPr>
              <a:defRPr/>
            </a:pPr>
            <a:endParaRPr lang="ru-RU" sz="1200" b="0" dirty="0">
              <a:cs typeface="+mn-cs"/>
            </a:endParaRPr>
          </a:p>
        </p:txBody>
      </p:sp>
      <p:sp>
        <p:nvSpPr>
          <p:cNvPr id="9" name="Образ слайда 8"/>
          <p:cNvSpPr>
            <a:spLocks noGrp="1" noRot="1" noChangeAspect="1"/>
          </p:cNvSpPr>
          <p:nvPr>
            <p:ph type="sldImg" idx="2"/>
          </p:nvPr>
        </p:nvSpPr>
        <p:spPr>
          <a:xfrm>
            <a:off x="503238" y="328613"/>
            <a:ext cx="6007100" cy="45053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77" tIns="45738" rIns="91477" bIns="45738" rtlCol="0" anchor="ctr"/>
          <a:lstStyle/>
          <a:p>
            <a:pPr lvl="0"/>
            <a:endParaRPr lang="ru-RU" noProof="0" dirty="0"/>
          </a:p>
        </p:txBody>
      </p:sp>
      <p:sp>
        <p:nvSpPr>
          <p:cNvPr id="10" name="Заметки 9"/>
          <p:cNvSpPr>
            <a:spLocks noGrp="1"/>
          </p:cNvSpPr>
          <p:nvPr>
            <p:ph type="body" sz="quarter" idx="3"/>
          </p:nvPr>
        </p:nvSpPr>
        <p:spPr bwMode="auto">
          <a:xfrm>
            <a:off x="447885" y="5009379"/>
            <a:ext cx="6121084" cy="4367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664" tIns="45832" rIns="91664" bIns="458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dirty="0" smtClean="0"/>
              <a:t>Образец текста</a:t>
            </a:r>
          </a:p>
          <a:p>
            <a:pPr lvl="1"/>
            <a:r>
              <a:rPr lang="ru-RU" noProof="0" dirty="0" smtClean="0"/>
              <a:t>Второй уровень</a:t>
            </a:r>
          </a:p>
          <a:p>
            <a:pPr lvl="2"/>
            <a:r>
              <a:rPr lang="ru-RU" noProof="0" dirty="0" smtClean="0"/>
              <a:t>Третий уровень</a:t>
            </a:r>
          </a:p>
          <a:p>
            <a:pPr lvl="3"/>
            <a:r>
              <a:rPr lang="ru-RU" noProof="0" dirty="0" smtClean="0"/>
              <a:t>Четвертый уровень</a:t>
            </a:r>
          </a:p>
          <a:p>
            <a:pPr lvl="4"/>
            <a:r>
              <a:rPr lang="ru-RU" noProof="0" dirty="0" smtClean="0"/>
              <a:t>Пятый уровень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87526559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2640013" y="2139950"/>
            <a:ext cx="5027612" cy="4527550"/>
            <a:chOff x="1663" y="1348"/>
            <a:chExt cx="3167" cy="2852"/>
          </a:xfrm>
        </p:grpSpPr>
        <p:sp>
          <p:nvSpPr>
            <p:cNvPr id="5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9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ru-RU" sz="1400" b="0" dirty="0">
                  <a:cs typeface="+mn-cs"/>
                </a:rPr>
                <a:t>КОНФИДЕНЦИАЛЬНО</a:t>
              </a:r>
              <a:endParaRPr lang="en-US" sz="1400" b="0" dirty="0">
                <a:cs typeface="+mn-cs"/>
              </a:endParaRPr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ru-RU" sz="1400" b="0" dirty="0">
                  <a:cs typeface="+mn-cs"/>
                </a:rPr>
                <a:t>Тип документа</a:t>
              </a:r>
              <a:endParaRPr lang="en-US" sz="1400" b="0" dirty="0">
                <a:cs typeface="+mn-cs"/>
              </a:endParaRP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ru-RU" sz="1400" b="0" dirty="0">
                  <a:cs typeface="+mn-cs"/>
                </a:rPr>
                <a:t>Дата</a:t>
              </a:r>
              <a:endParaRPr lang="en-US" sz="1400" b="0" dirty="0">
                <a:cs typeface="+mn-cs"/>
              </a:endParaRP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ru-RU" sz="900" b="0" dirty="0">
                  <a:cs typeface="+mn-cs"/>
                </a:rPr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 defTabSz="804863" eaLnBrk="0" hangingPunct="0">
                <a:defRPr/>
              </a:pPr>
              <a:endParaRPr lang="ru-RU" sz="900" b="0" dirty="0">
                <a:cs typeface="+mn-cs"/>
              </a:endParaRPr>
            </a:p>
            <a:p>
              <a:pPr defTabSz="804863" eaLnBrk="0" hangingPunct="0">
                <a:defRPr/>
              </a:pPr>
              <a:r>
                <a:rPr lang="ru-RU" sz="900" b="0" dirty="0">
                  <a:cs typeface="+mn-cs"/>
                </a:rPr>
                <a:t>Настоящий отчет был использован консультантами </a:t>
              </a:r>
              <a:br>
                <a:rPr lang="ru-RU" sz="900" b="0" dirty="0">
                  <a:cs typeface="+mn-cs"/>
                </a:rPr>
              </a:br>
              <a:r>
                <a:rPr lang="ru-RU" sz="900" b="0" dirty="0">
                  <a:cs typeface="+mn-cs"/>
                </a:rPr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9" name="Working Draft Text" hidden="1"/>
          <p:cNvSpPr>
            <a:spLocks noChangeArrowheads="1"/>
          </p:cNvSpPr>
          <p:nvPr/>
        </p:nvSpPr>
        <p:spPr bwMode="auto">
          <a:xfrm>
            <a:off x="419100" y="342900"/>
            <a:ext cx="3048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buSzPct val="120000"/>
              <a:defRPr/>
            </a:pPr>
            <a:r>
              <a:rPr lang="en-US" sz="1400" b="0" dirty="0">
                <a:cs typeface="+mn-cs"/>
              </a:rPr>
              <a:t>Working Draft    </a:t>
            </a:r>
          </a:p>
        </p:txBody>
      </p: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>
            <a:off x="419100" y="582613"/>
            <a:ext cx="3998913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0" dirty="0">
                <a:cs typeface="+mn-cs"/>
              </a:rPr>
              <a:t>Last Modified 09/06/2006 21:40:09 Russian Standard Time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>
            <a:off x="419100" y="800100"/>
            <a:ext cx="357187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200" b="0" dirty="0">
                <a:cs typeface="+mn-cs"/>
              </a:rPr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40016" y="2701925"/>
            <a:ext cx="5027611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40016" y="3883025"/>
            <a:ext cx="5027611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7759700" y="36513"/>
            <a:ext cx="977900" cy="122237"/>
          </a:xfrm>
        </p:spPr>
        <p:txBody>
          <a:bodyPr/>
          <a:lstStyle>
            <a:lvl1pPr algn="r"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816352" y="1273175"/>
            <a:ext cx="4924425" cy="92338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BF9BDA-734E-4836-86AF-46979EC0AD0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56004" y="230188"/>
            <a:ext cx="584775" cy="22653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6812" y="230188"/>
            <a:ext cx="1477328" cy="22653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388EE3-947D-4B66-BDFC-E99B1F621BC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066" y="230188"/>
            <a:ext cx="8621711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6FC80D-794D-40B4-A259-DFF1D7EF934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889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22238" y="1273175"/>
            <a:ext cx="8618537" cy="1222375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9FAC73-781F-4650-8059-0B2E339B5DC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19063" y="230188"/>
            <a:ext cx="8618537" cy="2889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122238" y="1273175"/>
            <a:ext cx="4232275" cy="534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506913" y="1273175"/>
            <a:ext cx="4233862" cy="534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122238" y="1960563"/>
            <a:ext cx="4232275" cy="5349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06913" y="1960563"/>
            <a:ext cx="4233862" cy="5349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ABF01F-65A1-46BF-9A4B-B482E85D5D1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889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75"/>
            <a:ext cx="4232275" cy="12223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506913" y="1273175"/>
            <a:ext cx="4233862" cy="534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506913" y="1960563"/>
            <a:ext cx="4233862" cy="5349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688461-B4CE-4BC0-B29A-687396D4139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Заголовок, клип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88925"/>
          </a:xfrm>
        </p:spPr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Клип 2"/>
          <p:cNvSpPr>
            <a:spLocks noGrp="1"/>
          </p:cNvSpPr>
          <p:nvPr>
            <p:ph type="clipArt" sz="half" idx="1"/>
          </p:nvPr>
        </p:nvSpPr>
        <p:spPr>
          <a:xfrm>
            <a:off x="122238" y="1273175"/>
            <a:ext cx="4232275" cy="1222375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06913" y="1273175"/>
            <a:ext cx="4233862" cy="1222375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8084C9-3A9B-4E03-A29F-9703DC1E240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2DCDEC-0CB3-4D77-A1B1-E1E47F3E031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8025" y="4319590"/>
            <a:ext cx="7616825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8025" y="2849565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DB5B1E-ACA3-408F-B97C-4DA60E40790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77"/>
            <a:ext cx="4232276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6913" y="1273177"/>
            <a:ext cx="4233862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AE52DE-2792-48D9-800B-9D8BEE0B32C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9875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952" y="1504950"/>
            <a:ext cx="3960813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952" y="2132013"/>
            <a:ext cx="3960813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7018FD-93BD-4C60-9A65-9D0F2CF9CD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C5A421-2B6E-4448-B23F-C0496CB0FBF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946E4D-7579-49B9-A389-94D90CE46AC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8290"/>
            <a:ext cx="2947987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13" y="268290"/>
            <a:ext cx="50101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7677" y="1406525"/>
            <a:ext cx="294798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8FD829-1137-47E1-99DF-CCD634A7F6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5777" y="4705352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5777" y="600077"/>
            <a:ext cx="5376863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5777" y="5260974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A76EE5-AB7F-450E-8B1E-460A1612F0A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29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8" name="Group 343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-6350" y="-22225"/>
            <a:ext cx="8963025" cy="236538"/>
            <a:chOff x="-4" y="-14"/>
            <a:chExt cx="5646" cy="149"/>
          </a:xfrm>
        </p:grpSpPr>
        <p:sp>
          <p:nvSpPr>
            <p:cNvPr id="122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2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2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2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2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2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2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2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3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4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5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6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7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8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29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0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1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2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3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4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5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6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6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6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6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6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6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6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</p:grpSp>
      <p:sp>
        <p:nvSpPr>
          <p:cNvPr id="1377" name="Freeform 353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6403975" y="-20638"/>
            <a:ext cx="2559050" cy="234951"/>
          </a:xfrm>
          <a:custGeom>
            <a:avLst/>
            <a:gdLst>
              <a:gd name="T0" fmla="*/ 0 w 1612"/>
              <a:gd name="T1" fmla="*/ 0 h 164"/>
              <a:gd name="T2" fmla="*/ 95 w 1612"/>
              <a:gd name="T3" fmla="*/ 164 h 164"/>
              <a:gd name="T4" fmla="*/ 1612 w 1612"/>
              <a:gd name="T5" fmla="*/ 164 h 164"/>
              <a:gd name="T6" fmla="*/ 1612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1430" tIns="45715" rIns="91430" bIns="45715"/>
          <a:lstStyle/>
          <a:p>
            <a:pPr>
              <a:defRPr/>
            </a:pPr>
            <a:endParaRPr lang="ru-RU" sz="1200" b="0" dirty="0">
              <a:cs typeface="+mn-cs"/>
            </a:endParaRPr>
          </a:p>
        </p:txBody>
      </p:sp>
      <p:sp>
        <p:nvSpPr>
          <p:cNvPr id="1220" name="AutoShape 196"/>
          <p:cNvSpPr>
            <a:spLocks noChangeAspect="1" noChangeArrowheads="1" noTextEdit="1"/>
          </p:cNvSpPr>
          <p:nvPr>
            <p:custDataLst>
              <p:tags r:id="rId21"/>
            </p:custDataLst>
          </p:nvPr>
        </p:nvSpPr>
        <p:spPr bwMode="auto">
          <a:xfrm>
            <a:off x="-6350" y="-26988"/>
            <a:ext cx="8991600" cy="254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 sz="1200" b="0" dirty="0">
              <a:cs typeface="+mn-cs"/>
            </a:endParaRPr>
          </a:p>
        </p:txBody>
      </p:sp>
      <p:grpSp>
        <p:nvGrpSpPr>
          <p:cNvPr id="1031" name="Group 355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4763" y="6484938"/>
            <a:ext cx="8958262" cy="258762"/>
            <a:chOff x="3" y="4085"/>
            <a:chExt cx="5643" cy="163"/>
          </a:xfrm>
        </p:grpSpPr>
        <p:sp>
          <p:nvSpPr>
            <p:cNvPr id="1060" name="Rectangle 36"/>
            <p:cNvSpPr>
              <a:spLocks noChangeArrowheads="1"/>
            </p:cNvSpPr>
            <p:nvPr userDrawn="1">
              <p:custDataLst>
                <p:tags r:id="rId29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91430" tIns="45715" rIns="91430" bIns="45715" anchor="ctr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  <p:sp>
          <p:nvSpPr>
            <p:cNvPr id="1378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64 h 164"/>
                <a:gd name="T4" fmla="*/ 1612 w 1612"/>
                <a:gd name="T5" fmla="*/ 164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1430" tIns="45715" rIns="91430" bIns="45715"/>
            <a:lstStyle/>
            <a:p>
              <a:pPr>
                <a:defRPr/>
              </a:pPr>
              <a:endParaRPr lang="ru-RU" sz="1200" b="0" dirty="0">
                <a:cs typeface="+mn-cs"/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3"/>
            </p:custDataLst>
          </p:nvPr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200"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1EBB209-590B-4E23-BD59-CA090E51C0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33" name="Rectangle 2"/>
          <p:cNvSpPr>
            <a:spLocks noGrp="1" noChangeArrowheads="1"/>
          </p:cNvSpPr>
          <p:nvPr>
            <p:ph type="title"/>
            <p:custDataLst>
              <p:tags r:id="rId24"/>
            </p:custDataLst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4" name="Rectangle 3"/>
          <p:cNvSpPr>
            <a:spLocks noGrp="1" noChangeArrowheads="1"/>
          </p:cNvSpPr>
          <p:nvPr>
            <p:ph type="body" idx="1"/>
            <p:custDataLst>
              <p:tags r:id="rId25"/>
            </p:custDataLst>
          </p:nvPr>
        </p:nvSpPr>
        <p:spPr bwMode="auto">
          <a:xfrm>
            <a:off x="122238" y="1273175"/>
            <a:ext cx="8618537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35" name="McK Slide Elements"/>
          <p:cNvGrpSpPr>
            <a:grpSpLocks/>
          </p:cNvGrpSpPr>
          <p:nvPr/>
        </p:nvGrpSpPr>
        <p:grpSpPr bwMode="auto">
          <a:xfrm>
            <a:off x="122238" y="531813"/>
            <a:ext cx="8618537" cy="6167437"/>
            <a:chOff x="77" y="335"/>
            <a:chExt cx="5429" cy="3885"/>
          </a:xfrm>
        </p:grpSpPr>
        <p:sp>
          <p:nvSpPr>
            <p:cNvPr id="103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defRPr/>
              </a:pPr>
              <a:r>
                <a:rPr lang="en-US" sz="1600" b="0" dirty="0">
                  <a:cs typeface="+mn-cs"/>
                </a:rPr>
                <a:t>Unit of measure</a:t>
              </a:r>
            </a:p>
          </p:txBody>
        </p:sp>
        <p:sp>
          <p:nvSpPr>
            <p:cNvPr id="2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06450" indent="-806450" defTabSz="895350">
                <a:tabLst>
                  <a:tab pos="717550" algn="r"/>
                </a:tabLst>
                <a:defRPr/>
              </a:pPr>
              <a:r>
                <a:rPr lang="ru-RU" sz="1200" b="0" dirty="0">
                  <a:solidFill>
                    <a:srgbClr val="000000"/>
                  </a:solidFill>
                  <a:cs typeface="+mn-cs"/>
                </a:rPr>
                <a:t>	</a:t>
              </a:r>
              <a:r>
                <a:rPr lang="en-US" sz="1200" b="0" dirty="0">
                  <a:solidFill>
                    <a:srgbClr val="000000"/>
                  </a:solidFill>
                  <a:cs typeface="+mn-cs"/>
                </a:rPr>
                <a:t>*</a:t>
              </a:r>
              <a:r>
                <a:rPr lang="ru-RU" sz="1200" b="0" dirty="0">
                  <a:solidFill>
                    <a:srgbClr val="000000"/>
                  </a:solidFill>
                  <a:cs typeface="+mn-cs"/>
                </a:rPr>
                <a:t>	Сноска</a:t>
              </a:r>
              <a:endParaRPr lang="en-US" sz="1200" b="0" dirty="0">
                <a:solidFill>
                  <a:srgbClr val="000000"/>
                </a:solidFill>
                <a:cs typeface="+mn-cs"/>
              </a:endParaRPr>
            </a:p>
            <a:p>
              <a:pPr marL="806450" indent="-806450" defTabSz="895350">
                <a:spcBef>
                  <a:spcPct val="20000"/>
                </a:spcBef>
                <a:tabLst>
                  <a:tab pos="717550" algn="r"/>
                </a:tabLst>
                <a:defRPr/>
              </a:pPr>
              <a:r>
                <a:rPr lang="ru-RU" sz="1200" b="0" dirty="0">
                  <a:solidFill>
                    <a:srgbClr val="000000"/>
                  </a:solidFill>
                  <a:cs typeface="+mn-cs"/>
                </a:rPr>
                <a:t>	Источник</a:t>
              </a:r>
              <a:r>
                <a:rPr lang="en-US" sz="1200" b="0" dirty="0">
                  <a:solidFill>
                    <a:srgbClr val="000000"/>
                  </a:solidFill>
                  <a:cs typeface="+mn-cs"/>
                </a:rPr>
                <a:t>:</a:t>
              </a:r>
              <a:r>
                <a:rPr lang="ru-RU" sz="1200" b="0" dirty="0">
                  <a:solidFill>
                    <a:srgbClr val="000000"/>
                  </a:solidFill>
                  <a:cs typeface="+mn-cs"/>
                </a:rPr>
                <a:t>	Источник</a:t>
              </a:r>
              <a:endParaRPr lang="en-US" sz="1200" b="0" dirty="0">
                <a:solidFill>
                  <a:srgbClr val="000000"/>
                </a:solidFill>
                <a:cs typeface="+mn-cs"/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 rot="5400000">
            <a:off x="8027194" y="2710656"/>
            <a:ext cx="1728788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 b="0" dirty="0">
                <a:cs typeface="+mn-cs"/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 rot="5400000">
            <a:off x="8403431" y="4217194"/>
            <a:ext cx="9763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 b="0" dirty="0">
                <a:cs typeface="+mn-cs"/>
              </a:rPr>
              <a:t>Printed 08/06/2006 17:52:59</a:t>
            </a:r>
          </a:p>
        </p:txBody>
      </p:sp>
      <p:sp>
        <p:nvSpPr>
          <p:cNvPr id="1029" name="doc id"/>
          <p:cNvSpPr>
            <a:spLocks noGrp="1" noChangeArrowheads="1"/>
          </p:cNvSpPr>
          <p:nvPr>
            <p:ph type="ftr" sz="quarter" idx="3"/>
            <p:custDataLst>
              <p:tags r:id="rId28"/>
            </p:custDataLst>
          </p:nvPr>
        </p:nvSpPr>
        <p:spPr bwMode="auto">
          <a:xfrm>
            <a:off x="147638" y="36513"/>
            <a:ext cx="2849562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bg2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graphicFrame>
        <p:nvGraphicFramePr>
          <p:cNvPr id="1026" name="Rectangle 3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r:id="rId30" imgW="0" imgH="0" progId="">
                  <p:embed/>
                </p:oleObj>
              </mc:Choice>
              <mc:Fallback>
                <p:oleObj r:id="rId30" imgW="0" imgH="0" progId="">
                  <p:embed/>
                  <p:pic>
                    <p:nvPicPr>
                      <p:cNvPr id="0" name="Rectangle 3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4243" r:id="rId1"/>
    <p:sldLayoutId id="2147484228" r:id="rId2"/>
    <p:sldLayoutId id="2147484229" r:id="rId3"/>
    <p:sldLayoutId id="2147484230" r:id="rId4"/>
    <p:sldLayoutId id="2147484231" r:id="rId5"/>
    <p:sldLayoutId id="2147484232" r:id="rId6"/>
    <p:sldLayoutId id="2147484233" r:id="rId7"/>
    <p:sldLayoutId id="2147484234" r:id="rId8"/>
    <p:sldLayoutId id="2147484235" r:id="rId9"/>
    <p:sldLayoutId id="2147484236" r:id="rId10"/>
    <p:sldLayoutId id="2147484237" r:id="rId11"/>
    <p:sldLayoutId id="2147484238" r:id="rId12"/>
    <p:sldLayoutId id="2147484239" r:id="rId13"/>
    <p:sldLayoutId id="2147484240" r:id="rId14"/>
    <p:sldLayoutId id="2147484241" r:id="rId15"/>
    <p:sldLayoutId id="2147484242" r:id="rId16"/>
  </p:sldLayoutIdLst>
  <p:hf hd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98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70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42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114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609876" y="622359"/>
            <a:ext cx="6899133" cy="4841428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3038"/>
              </a:lnSpc>
              <a:tabLst>
                <a:tab pos="149352" algn="l"/>
                <a:tab pos="485394" algn="l"/>
              </a:tabLst>
            </a:pPr>
            <a:r>
              <a:rPr lang="en-US" altLang="zh-CN" sz="2700" dirty="0">
                <a:solidFill>
                  <a:srgbClr val="3399FF"/>
                </a:solidFill>
                <a:latin typeface="Times New Roman" pitchFamily="18" charset="0"/>
                <a:cs typeface="Times New Roman" pitchFamily="18" charset="0"/>
              </a:rPr>
              <a:t>Содержание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3038"/>
              </a:lnSpc>
              <a:tabLst>
                <a:tab pos="149352" algn="l"/>
                <a:tab pos="485394" algn="l"/>
              </a:tabLst>
            </a:pPr>
            <a:r>
              <a:rPr lang="en-US" altLang="zh-CN" dirty="0" smtClean="0"/>
              <a:t>	</a:t>
            </a:r>
            <a:r>
              <a:rPr lang="en-US" altLang="zh-CN" sz="20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одуль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«Теоретические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ы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»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646"/>
              </a:lnSpc>
              <a:tabLst>
                <a:tab pos="149352" algn="l"/>
                <a:tab pos="485394" algn="l"/>
              </a:tabLst>
            </a:pPr>
            <a:r>
              <a:rPr lang="en-US" altLang="zh-CN" dirty="0" smtClean="0"/>
              <a:t>	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одуль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держание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каза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интруда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оссии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№235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</a:p>
          <a:p>
            <a:pPr>
              <a:lnSpc>
                <a:spcPts val="2352"/>
              </a:lnSpc>
              <a:tabLst>
                <a:tab pos="149352" algn="l"/>
                <a:tab pos="485394" algn="l"/>
              </a:tabLst>
            </a:pPr>
            <a:r>
              <a:rPr lang="en-US" altLang="zh-CN" dirty="0" smtClean="0"/>
              <a:t>		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1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ая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013г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ии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тодических</a:t>
            </a:r>
          </a:p>
          <a:p>
            <a:pPr>
              <a:lnSpc>
                <a:spcPts val="2352"/>
              </a:lnSpc>
              <a:tabLst>
                <a:tab pos="149352" algn="l"/>
                <a:tab pos="485394" algn="l"/>
              </a:tabLst>
            </a:pPr>
            <a:r>
              <a:rPr lang="en-US" altLang="zh-CN" dirty="0" smtClean="0"/>
              <a:t>		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аций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льных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ов</a:t>
            </a:r>
          </a:p>
          <a:p>
            <a:pPr>
              <a:lnSpc>
                <a:spcPts val="2352"/>
              </a:lnSpc>
              <a:tabLst>
                <a:tab pos="149352" algn="l"/>
                <a:tab pos="485394" algn="l"/>
              </a:tabLst>
            </a:pPr>
            <a:r>
              <a:rPr lang="en-US" altLang="zh-CN" dirty="0" smtClean="0"/>
              <a:t>		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нительной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ласти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</a:p>
          <a:p>
            <a:pPr>
              <a:lnSpc>
                <a:spcPts val="2352"/>
              </a:lnSpc>
              <a:tabLst>
                <a:tab pos="149352" algn="l"/>
                <a:tab pos="485394" algn="l"/>
              </a:tabLst>
            </a:pPr>
            <a:r>
              <a:rPr lang="en-US" altLang="zh-CN" dirty="0" smtClean="0"/>
              <a:t>		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646"/>
              </a:lnSpc>
              <a:tabLst>
                <a:tab pos="149352" algn="l"/>
                <a:tab pos="485394" algn="l"/>
              </a:tabLst>
            </a:pPr>
            <a:r>
              <a:rPr lang="en-US" altLang="zh-CN" dirty="0" smtClean="0"/>
              <a:t>	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одуль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держание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каза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интруда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оссии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№504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</a:p>
          <a:p>
            <a:pPr>
              <a:lnSpc>
                <a:spcPts val="2352"/>
              </a:lnSpc>
              <a:tabLst>
                <a:tab pos="149352" algn="l"/>
                <a:tab pos="485394" algn="l"/>
              </a:tabLst>
            </a:pPr>
            <a:r>
              <a:rPr lang="en-US" altLang="zh-CN" dirty="0" smtClean="0"/>
              <a:t>		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0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ентября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013г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ии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тодических</a:t>
            </a:r>
          </a:p>
          <a:p>
            <a:pPr>
              <a:lnSpc>
                <a:spcPts val="2352"/>
              </a:lnSpc>
              <a:tabLst>
                <a:tab pos="149352" algn="l"/>
                <a:tab pos="485394" algn="l"/>
              </a:tabLst>
            </a:pPr>
            <a:r>
              <a:rPr lang="en-US" altLang="zh-CN" dirty="0" smtClean="0"/>
              <a:t>		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аций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сударственных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муниципальных)</a:t>
            </a:r>
          </a:p>
          <a:p>
            <a:pPr>
              <a:lnSpc>
                <a:spcPts val="2352"/>
              </a:lnSpc>
              <a:tabLst>
                <a:tab pos="149352" algn="l"/>
                <a:tab pos="485394" algn="l"/>
              </a:tabLst>
            </a:pPr>
            <a:r>
              <a:rPr lang="en-US" altLang="zh-CN" dirty="0" smtClean="0"/>
              <a:t>		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й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истемы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</a:p>
          <a:p>
            <a:pPr>
              <a:lnSpc>
                <a:spcPts val="2352"/>
              </a:lnSpc>
              <a:tabLst>
                <a:tab pos="149352" algn="l"/>
                <a:tab pos="485394" algn="l"/>
              </a:tabLst>
            </a:pPr>
            <a:r>
              <a:rPr lang="en-US" altLang="zh-CN" dirty="0" smtClean="0"/>
              <a:t>		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</p:txBody>
      </p:sp>
      <p:sp>
        <p:nvSpPr>
          <p:cNvPr id="7" name="TextBox 1"/>
          <p:cNvSpPr txBox="1"/>
          <p:nvPr/>
        </p:nvSpPr>
        <p:spPr>
          <a:xfrm>
            <a:off x="8737402" y="6410296"/>
            <a:ext cx="51296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975252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98985" y="1103193"/>
            <a:ext cx="7903552" cy="4656736"/>
          </a:xfrm>
          <a:custGeom>
            <a:avLst/>
            <a:gdLst>
              <a:gd name="connsiteX0" fmla="*/ 0 w 8064563"/>
              <a:gd name="connsiteY0" fmla="*/ 791844 h 4751323"/>
              <a:gd name="connsiteX1" fmla="*/ 791908 w 8064563"/>
              <a:gd name="connsiteY1" fmla="*/ 0 h 4751323"/>
              <a:gd name="connsiteX2" fmla="*/ 791908 w 8064563"/>
              <a:gd name="connsiteY2" fmla="*/ 0 h 4751323"/>
              <a:gd name="connsiteX3" fmla="*/ 791908 w 8064563"/>
              <a:gd name="connsiteY3" fmla="*/ 0 h 4751323"/>
              <a:gd name="connsiteX4" fmla="*/ 7272591 w 8064563"/>
              <a:gd name="connsiteY4" fmla="*/ 0 h 4751323"/>
              <a:gd name="connsiteX5" fmla="*/ 7272591 w 8064563"/>
              <a:gd name="connsiteY5" fmla="*/ 0 h 4751323"/>
              <a:gd name="connsiteX6" fmla="*/ 8064436 w 8064563"/>
              <a:gd name="connsiteY6" fmla="*/ 791844 h 4751323"/>
              <a:gd name="connsiteX7" fmla="*/ 8064436 w 8064563"/>
              <a:gd name="connsiteY7" fmla="*/ 791844 h 4751323"/>
              <a:gd name="connsiteX8" fmla="*/ 8064436 w 8064563"/>
              <a:gd name="connsiteY8" fmla="*/ 791844 h 4751323"/>
              <a:gd name="connsiteX9" fmla="*/ 8064563 w 8064563"/>
              <a:gd name="connsiteY9" fmla="*/ 3959352 h 4751323"/>
              <a:gd name="connsiteX10" fmla="*/ 8064563 w 8064563"/>
              <a:gd name="connsiteY10" fmla="*/ 3959352 h 4751323"/>
              <a:gd name="connsiteX11" fmla="*/ 7272591 w 8064563"/>
              <a:gd name="connsiteY11" fmla="*/ 4751324 h 4751323"/>
              <a:gd name="connsiteX12" fmla="*/ 7272591 w 8064563"/>
              <a:gd name="connsiteY12" fmla="*/ 4751324 h 4751323"/>
              <a:gd name="connsiteX13" fmla="*/ 7272591 w 8064563"/>
              <a:gd name="connsiteY13" fmla="*/ 4751324 h 4751323"/>
              <a:gd name="connsiteX14" fmla="*/ 791908 w 8064563"/>
              <a:gd name="connsiteY14" fmla="*/ 4751324 h 4751323"/>
              <a:gd name="connsiteX15" fmla="*/ 791908 w 8064563"/>
              <a:gd name="connsiteY15" fmla="*/ 4751324 h 4751323"/>
              <a:gd name="connsiteX16" fmla="*/ 0 w 8064563"/>
              <a:gd name="connsiteY16" fmla="*/ 3959352 h 4751323"/>
              <a:gd name="connsiteX17" fmla="*/ 0 w 8064563"/>
              <a:gd name="connsiteY17" fmla="*/ 3959352 h 4751323"/>
              <a:gd name="connsiteX18" fmla="*/ 0 w 8064563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8064563" h="4751323">
                <a:moveTo>
                  <a:pt x="0" y="791844"/>
                </a:moveTo>
                <a:cubicBezTo>
                  <a:pt x="0" y="354457"/>
                  <a:pt x="354558" y="0"/>
                  <a:pt x="791908" y="0"/>
                </a:cubicBezTo>
                <a:cubicBezTo>
                  <a:pt x="791908" y="0"/>
                  <a:pt x="791908" y="0"/>
                  <a:pt x="791908" y="0"/>
                </a:cubicBezTo>
                <a:lnTo>
                  <a:pt x="791908" y="0"/>
                </a:lnTo>
                <a:lnTo>
                  <a:pt x="7272591" y="0"/>
                </a:lnTo>
                <a:lnTo>
                  <a:pt x="7272591" y="0"/>
                </a:lnTo>
                <a:cubicBezTo>
                  <a:pt x="7709979" y="0"/>
                  <a:pt x="8064436" y="354457"/>
                  <a:pt x="8064436" y="791844"/>
                </a:cubicBezTo>
                <a:cubicBezTo>
                  <a:pt x="8064436" y="791844"/>
                  <a:pt x="8064436" y="791844"/>
                  <a:pt x="8064436" y="791844"/>
                </a:cubicBezTo>
                <a:lnTo>
                  <a:pt x="8064436" y="791844"/>
                </a:lnTo>
                <a:lnTo>
                  <a:pt x="8064563" y="3959352"/>
                </a:lnTo>
                <a:lnTo>
                  <a:pt x="8064563" y="3959352"/>
                </a:lnTo>
                <a:cubicBezTo>
                  <a:pt x="8064563" y="4396739"/>
                  <a:pt x="7709979" y="4751324"/>
                  <a:pt x="7272591" y="4751324"/>
                </a:cubicBezTo>
                <a:cubicBezTo>
                  <a:pt x="7272591" y="4751324"/>
                  <a:pt x="7272591" y="4751324"/>
                  <a:pt x="7272591" y="4751324"/>
                </a:cubicBezTo>
                <a:lnTo>
                  <a:pt x="7272591" y="4751324"/>
                </a:lnTo>
                <a:lnTo>
                  <a:pt x="791908" y="4751324"/>
                </a:lnTo>
                <a:lnTo>
                  <a:pt x="791908" y="4751324"/>
                </a:lnTo>
                <a:cubicBezTo>
                  <a:pt x="354558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75650" y="1867449"/>
            <a:ext cx="7550148" cy="3599350"/>
          </a:xfrm>
          <a:custGeom>
            <a:avLst/>
            <a:gdLst>
              <a:gd name="connsiteX0" fmla="*/ 0 w 7703959"/>
              <a:gd name="connsiteY0" fmla="*/ 612013 h 3672459"/>
              <a:gd name="connsiteX1" fmla="*/ 612152 w 7703959"/>
              <a:gd name="connsiteY1" fmla="*/ 0 h 3672459"/>
              <a:gd name="connsiteX2" fmla="*/ 612152 w 7703959"/>
              <a:gd name="connsiteY2" fmla="*/ 0 h 3672459"/>
              <a:gd name="connsiteX3" fmla="*/ 612152 w 7703959"/>
              <a:gd name="connsiteY3" fmla="*/ 0 h 3672459"/>
              <a:gd name="connsiteX4" fmla="*/ 7091819 w 7703959"/>
              <a:gd name="connsiteY4" fmla="*/ 0 h 3672459"/>
              <a:gd name="connsiteX5" fmla="*/ 7091819 w 7703959"/>
              <a:gd name="connsiteY5" fmla="*/ 0 h 3672459"/>
              <a:gd name="connsiteX6" fmla="*/ 7703959 w 7703959"/>
              <a:gd name="connsiteY6" fmla="*/ 612013 h 3672459"/>
              <a:gd name="connsiteX7" fmla="*/ 7703959 w 7703959"/>
              <a:gd name="connsiteY7" fmla="*/ 612013 h 3672459"/>
              <a:gd name="connsiteX8" fmla="*/ 7703959 w 7703959"/>
              <a:gd name="connsiteY8" fmla="*/ 612013 h 3672459"/>
              <a:gd name="connsiteX9" fmla="*/ 7703959 w 7703959"/>
              <a:gd name="connsiteY9" fmla="*/ 3060446 h 3672459"/>
              <a:gd name="connsiteX10" fmla="*/ 7703959 w 7703959"/>
              <a:gd name="connsiteY10" fmla="*/ 3060446 h 3672459"/>
              <a:gd name="connsiteX11" fmla="*/ 7091819 w 7703959"/>
              <a:gd name="connsiteY11" fmla="*/ 3672459 h 3672459"/>
              <a:gd name="connsiteX12" fmla="*/ 7091819 w 7703959"/>
              <a:gd name="connsiteY12" fmla="*/ 3672459 h 3672459"/>
              <a:gd name="connsiteX13" fmla="*/ 7091819 w 7703959"/>
              <a:gd name="connsiteY13" fmla="*/ 3672459 h 3672459"/>
              <a:gd name="connsiteX14" fmla="*/ 612152 w 7703959"/>
              <a:gd name="connsiteY14" fmla="*/ 3672459 h 3672459"/>
              <a:gd name="connsiteX15" fmla="*/ 612152 w 7703959"/>
              <a:gd name="connsiteY15" fmla="*/ 3672459 h 3672459"/>
              <a:gd name="connsiteX16" fmla="*/ 0 w 7703959"/>
              <a:gd name="connsiteY16" fmla="*/ 3060446 h 3672459"/>
              <a:gd name="connsiteX17" fmla="*/ 0 w 7703959"/>
              <a:gd name="connsiteY17" fmla="*/ 3060446 h 3672459"/>
              <a:gd name="connsiteX18" fmla="*/ 0 w 7703959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703959" h="3672459">
                <a:moveTo>
                  <a:pt x="0" y="612013"/>
                </a:moveTo>
                <a:cubicBezTo>
                  <a:pt x="0" y="273939"/>
                  <a:pt x="274053" y="0"/>
                  <a:pt x="612152" y="0"/>
                </a:cubicBezTo>
                <a:cubicBezTo>
                  <a:pt x="612152" y="0"/>
                  <a:pt x="612152" y="0"/>
                  <a:pt x="612152" y="0"/>
                </a:cubicBezTo>
                <a:lnTo>
                  <a:pt x="612152" y="0"/>
                </a:lnTo>
                <a:lnTo>
                  <a:pt x="7091819" y="0"/>
                </a:lnTo>
                <a:lnTo>
                  <a:pt x="7091819" y="0"/>
                </a:lnTo>
                <a:cubicBezTo>
                  <a:pt x="7429893" y="0"/>
                  <a:pt x="7703959" y="273939"/>
                  <a:pt x="7703959" y="612013"/>
                </a:cubicBezTo>
                <a:cubicBezTo>
                  <a:pt x="7703959" y="612013"/>
                  <a:pt x="7703959" y="612013"/>
                  <a:pt x="7703959" y="612013"/>
                </a:cubicBezTo>
                <a:lnTo>
                  <a:pt x="7703959" y="612013"/>
                </a:lnTo>
                <a:lnTo>
                  <a:pt x="7703959" y="3060446"/>
                </a:lnTo>
                <a:lnTo>
                  <a:pt x="7703959" y="3060446"/>
                </a:lnTo>
                <a:cubicBezTo>
                  <a:pt x="7703959" y="3398520"/>
                  <a:pt x="7429893" y="3672459"/>
                  <a:pt x="7091819" y="3672459"/>
                </a:cubicBezTo>
                <a:cubicBezTo>
                  <a:pt x="7091819" y="3672459"/>
                  <a:pt x="7091819" y="3672459"/>
                  <a:pt x="7091819" y="3672459"/>
                </a:cubicBezTo>
                <a:lnTo>
                  <a:pt x="7091819" y="3672459"/>
                </a:lnTo>
                <a:lnTo>
                  <a:pt x="612152" y="3672459"/>
                </a:lnTo>
                <a:lnTo>
                  <a:pt x="612152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11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5" y="335823"/>
            <a:ext cx="7455419" cy="4494578"/>
          </a:xfrm>
          <a:prstGeom prst="rect">
            <a:avLst/>
          </a:prstGeom>
          <a:noFill/>
        </p:spPr>
        <p:txBody>
          <a:bodyPr wrap="squar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945896" algn="l"/>
                <a:tab pos="1891792" algn="l"/>
                <a:tab pos="2713228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1.Нормирова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:</a:t>
            </a:r>
          </a:p>
          <a:p>
            <a:pPr>
              <a:lnSpc>
                <a:spcPts val="2058"/>
              </a:lnSpc>
              <a:tabLst>
                <a:tab pos="584962" algn="l"/>
                <a:tab pos="945896" algn="l"/>
                <a:tab pos="1891792" algn="l"/>
                <a:tab pos="2713228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законодатель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сновы</a:t>
            </a:r>
          </a:p>
          <a:p>
            <a:pPr>
              <a:lnSpc>
                <a:spcPts val="3528"/>
              </a:lnSpc>
              <a:tabLst>
                <a:tab pos="584962" algn="l"/>
                <a:tab pos="945896" algn="l"/>
                <a:tab pos="1891792" algn="l"/>
                <a:tab pos="2713228" algn="l"/>
              </a:tabLst>
            </a:pPr>
            <a:r>
              <a:rPr lang="en-US" altLang="zh-CN" dirty="0" smtClean="0"/>
              <a:t>				</a:t>
            </a:r>
            <a:endParaRPr lang="ru-RU" altLang="zh-CN" dirty="0" smtClean="0"/>
          </a:p>
          <a:p>
            <a:pPr algn="ctr">
              <a:lnSpc>
                <a:spcPts val="3528"/>
              </a:lnSpc>
              <a:tabLst>
                <a:tab pos="584962" algn="l"/>
                <a:tab pos="945896" algn="l"/>
                <a:tab pos="1891792" algn="l"/>
                <a:tab pos="2713228" algn="l"/>
              </a:tabLst>
            </a:pPr>
            <a:r>
              <a:rPr lang="en-US" altLang="zh-CN" sz="24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лава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2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К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Ф</a:t>
            </a:r>
          </a:p>
          <a:p>
            <a:pPr>
              <a:lnSpc>
                <a:spcPts val="1862"/>
              </a:lnSpc>
              <a:tabLst>
                <a:tab pos="584962" algn="l"/>
                <a:tab pos="945896" algn="l"/>
                <a:tab pos="1891792" algn="l"/>
                <a:tab pos="2713228" algn="l"/>
              </a:tabLst>
            </a:pPr>
            <a:r>
              <a:rPr lang="en-US" altLang="zh-CN" dirty="0" smtClean="0"/>
              <a:t>	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основн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ть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ю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)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548"/>
              </a:lnSpc>
              <a:tabLst>
                <a:tab pos="584962" algn="l"/>
                <a:tab pos="945896" algn="l"/>
                <a:tab pos="1891792" algn="l"/>
                <a:tab pos="2713228" algn="l"/>
              </a:tabLst>
            </a:pPr>
            <a:r>
              <a:rPr lang="en-US" altLang="zh-CN" dirty="0" smtClean="0"/>
              <a:t>		</a:t>
            </a:r>
            <a:endParaRPr lang="ru-RU" altLang="zh-CN" dirty="0" smtClean="0"/>
          </a:p>
          <a:p>
            <a:pPr algn="ctr">
              <a:lnSpc>
                <a:spcPts val="2548"/>
              </a:lnSpc>
              <a:tabLst>
                <a:tab pos="584962" algn="l"/>
                <a:tab pos="945896" algn="l"/>
                <a:tab pos="1891792" algn="l"/>
                <a:tab pos="2713228" algn="l"/>
              </a:tabLst>
            </a:pPr>
            <a:r>
              <a:rPr lang="en-US" altLang="zh-CN" sz="1600" u="sng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тья</a:t>
            </a:r>
            <a:r>
              <a:rPr lang="en-US" altLang="zh-CN" sz="1600" u="sng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161. Разработка и утверждение типовых норм труда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450"/>
              </a:lnSpc>
              <a:tabLst>
                <a:tab pos="584962" algn="l"/>
                <a:tab pos="945896" algn="l"/>
                <a:tab pos="1891792" algn="l"/>
                <a:tab pos="271322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днородн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огу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атывать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2058"/>
              </a:lnSpc>
              <a:tabLst>
                <a:tab pos="584962" algn="l"/>
                <a:tab pos="945896" algn="l"/>
                <a:tab pos="1891792" algn="l"/>
                <a:tab pos="271322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авливать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межотраслевые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е,</a:t>
            </a:r>
          </a:p>
          <a:p>
            <a:pPr>
              <a:lnSpc>
                <a:spcPts val="2058"/>
              </a:lnSpc>
              <a:tabLst>
                <a:tab pos="584962" algn="l"/>
                <a:tab pos="945896" algn="l"/>
                <a:tab pos="1891792" algn="l"/>
                <a:tab pos="271322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фессиональ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ные)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</a:p>
          <a:p>
            <a:pPr>
              <a:lnSpc>
                <a:spcPts val="2058"/>
              </a:lnSpc>
              <a:tabLst>
                <a:tab pos="584962" algn="l"/>
                <a:tab pos="945896" algn="l"/>
                <a:tab pos="1891792" algn="l"/>
                <a:tab pos="271322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атываю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аю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рядке,</a:t>
            </a:r>
          </a:p>
          <a:p>
            <a:pPr>
              <a:lnSpc>
                <a:spcPts val="2058"/>
              </a:lnSpc>
              <a:tabLst>
                <a:tab pos="584962" algn="l"/>
                <a:tab pos="945896" algn="l"/>
                <a:tab pos="1891792" algn="l"/>
                <a:tab pos="271322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н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льны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нительной</a:t>
            </a:r>
          </a:p>
          <a:p>
            <a:pPr>
              <a:lnSpc>
                <a:spcPts val="2058"/>
              </a:lnSpc>
              <a:tabLst>
                <a:tab pos="584962" algn="l"/>
                <a:tab pos="945896" algn="l"/>
                <a:tab pos="1891792" algn="l"/>
                <a:tab pos="271322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ласти.</a:t>
            </a:r>
          </a:p>
        </p:txBody>
      </p:sp>
    </p:spTree>
    <p:extLst>
      <p:ext uri="{BB962C8B-B14F-4D97-AF65-F5344CB8AC3E}">
        <p14:creationId xmlns:p14="http://schemas.microsoft.com/office/powerpoint/2010/main" val="3218406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3"/>
          <p:cNvSpPr/>
          <p:nvPr/>
        </p:nvSpPr>
        <p:spPr>
          <a:xfrm>
            <a:off x="598984" y="1103192"/>
            <a:ext cx="7833479" cy="4586722"/>
          </a:xfrm>
          <a:custGeom>
            <a:avLst/>
            <a:gdLst>
              <a:gd name="connsiteX0" fmla="*/ 0 w 7993062"/>
              <a:gd name="connsiteY0" fmla="*/ 779906 h 4679886"/>
              <a:gd name="connsiteX1" fmla="*/ 779970 w 7993062"/>
              <a:gd name="connsiteY1" fmla="*/ 0 h 4679886"/>
              <a:gd name="connsiteX2" fmla="*/ 779970 w 7993062"/>
              <a:gd name="connsiteY2" fmla="*/ 0 h 4679886"/>
              <a:gd name="connsiteX3" fmla="*/ 779970 w 7993062"/>
              <a:gd name="connsiteY3" fmla="*/ 0 h 4679886"/>
              <a:gd name="connsiteX4" fmla="*/ 7213028 w 7993062"/>
              <a:gd name="connsiteY4" fmla="*/ 0 h 4679886"/>
              <a:gd name="connsiteX5" fmla="*/ 7213028 w 7993062"/>
              <a:gd name="connsiteY5" fmla="*/ 0 h 4679886"/>
              <a:gd name="connsiteX6" fmla="*/ 7993062 w 7993062"/>
              <a:gd name="connsiteY6" fmla="*/ 779906 h 4679886"/>
              <a:gd name="connsiteX7" fmla="*/ 7993062 w 7993062"/>
              <a:gd name="connsiteY7" fmla="*/ 779906 h 4679886"/>
              <a:gd name="connsiteX8" fmla="*/ 7993062 w 7993062"/>
              <a:gd name="connsiteY8" fmla="*/ 779906 h 4679886"/>
              <a:gd name="connsiteX9" fmla="*/ 7993062 w 7993062"/>
              <a:gd name="connsiteY9" fmla="*/ 3899915 h 4679886"/>
              <a:gd name="connsiteX10" fmla="*/ 7993062 w 7993062"/>
              <a:gd name="connsiteY10" fmla="*/ 3899915 h 4679886"/>
              <a:gd name="connsiteX11" fmla="*/ 7213028 w 7993062"/>
              <a:gd name="connsiteY11" fmla="*/ 4679886 h 4679886"/>
              <a:gd name="connsiteX12" fmla="*/ 7213028 w 7993062"/>
              <a:gd name="connsiteY12" fmla="*/ 4679886 h 4679886"/>
              <a:gd name="connsiteX13" fmla="*/ 7213028 w 7993062"/>
              <a:gd name="connsiteY13" fmla="*/ 4679886 h 4679886"/>
              <a:gd name="connsiteX14" fmla="*/ 779970 w 7993062"/>
              <a:gd name="connsiteY14" fmla="*/ 4679886 h 4679886"/>
              <a:gd name="connsiteX15" fmla="*/ 779970 w 7993062"/>
              <a:gd name="connsiteY15" fmla="*/ 4679886 h 4679886"/>
              <a:gd name="connsiteX16" fmla="*/ 0 w 7993062"/>
              <a:gd name="connsiteY16" fmla="*/ 3899915 h 4679886"/>
              <a:gd name="connsiteX17" fmla="*/ 0 w 7993062"/>
              <a:gd name="connsiteY17" fmla="*/ 3899915 h 4679886"/>
              <a:gd name="connsiteX18" fmla="*/ 0 w 7993062"/>
              <a:gd name="connsiteY18" fmla="*/ 779906 h 467988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93062" h="4679886">
                <a:moveTo>
                  <a:pt x="0" y="779906"/>
                </a:moveTo>
                <a:cubicBezTo>
                  <a:pt x="0" y="349123"/>
                  <a:pt x="349224" y="0"/>
                  <a:pt x="779970" y="0"/>
                </a:cubicBezTo>
                <a:cubicBezTo>
                  <a:pt x="779970" y="0"/>
                  <a:pt x="779970" y="0"/>
                  <a:pt x="779970" y="0"/>
                </a:cubicBezTo>
                <a:lnTo>
                  <a:pt x="779970" y="0"/>
                </a:lnTo>
                <a:lnTo>
                  <a:pt x="7213028" y="0"/>
                </a:lnTo>
                <a:lnTo>
                  <a:pt x="7213028" y="0"/>
                </a:lnTo>
                <a:cubicBezTo>
                  <a:pt x="7643812" y="0"/>
                  <a:pt x="7993062" y="349123"/>
                  <a:pt x="7993062" y="779906"/>
                </a:cubicBezTo>
                <a:cubicBezTo>
                  <a:pt x="7993062" y="779906"/>
                  <a:pt x="7993062" y="779906"/>
                  <a:pt x="7993062" y="779906"/>
                </a:cubicBezTo>
                <a:lnTo>
                  <a:pt x="7993062" y="779906"/>
                </a:lnTo>
                <a:lnTo>
                  <a:pt x="7993062" y="3899915"/>
                </a:lnTo>
                <a:lnTo>
                  <a:pt x="7993062" y="3899915"/>
                </a:lnTo>
                <a:cubicBezTo>
                  <a:pt x="7993062" y="4330700"/>
                  <a:pt x="7643812" y="4679886"/>
                  <a:pt x="7213028" y="4679886"/>
                </a:cubicBezTo>
                <a:cubicBezTo>
                  <a:pt x="7213028" y="4679886"/>
                  <a:pt x="7213028" y="4679886"/>
                  <a:pt x="7213028" y="4679886"/>
                </a:cubicBezTo>
                <a:lnTo>
                  <a:pt x="7213028" y="4679886"/>
                </a:lnTo>
                <a:lnTo>
                  <a:pt x="779970" y="4679886"/>
                </a:lnTo>
                <a:lnTo>
                  <a:pt x="779970" y="4679886"/>
                </a:lnTo>
                <a:cubicBezTo>
                  <a:pt x="349224" y="4679886"/>
                  <a:pt x="0" y="4330700"/>
                  <a:pt x="0" y="3899915"/>
                </a:cubicBezTo>
                <a:cubicBezTo>
                  <a:pt x="0" y="3899915"/>
                  <a:pt x="0" y="3899915"/>
                  <a:pt x="0" y="3899915"/>
                </a:cubicBezTo>
                <a:lnTo>
                  <a:pt x="0" y="779906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74082" y="1855874"/>
            <a:ext cx="7483261" cy="3545328"/>
          </a:xfrm>
          <a:custGeom>
            <a:avLst/>
            <a:gdLst>
              <a:gd name="connsiteX0" fmla="*/ 0 w 7635710"/>
              <a:gd name="connsiteY0" fmla="*/ 602995 h 3617340"/>
              <a:gd name="connsiteX1" fmla="*/ 602957 w 7635710"/>
              <a:gd name="connsiteY1" fmla="*/ 0 h 3617340"/>
              <a:gd name="connsiteX2" fmla="*/ 602957 w 7635710"/>
              <a:gd name="connsiteY2" fmla="*/ 0 h 3617340"/>
              <a:gd name="connsiteX3" fmla="*/ 602957 w 7635710"/>
              <a:gd name="connsiteY3" fmla="*/ 0 h 3617340"/>
              <a:gd name="connsiteX4" fmla="*/ 7032841 w 7635710"/>
              <a:gd name="connsiteY4" fmla="*/ 0 h 3617340"/>
              <a:gd name="connsiteX5" fmla="*/ 7032841 w 7635710"/>
              <a:gd name="connsiteY5" fmla="*/ 0 h 3617340"/>
              <a:gd name="connsiteX6" fmla="*/ 7635709 w 7635710"/>
              <a:gd name="connsiteY6" fmla="*/ 602995 h 3617340"/>
              <a:gd name="connsiteX7" fmla="*/ 7635709 w 7635710"/>
              <a:gd name="connsiteY7" fmla="*/ 602995 h 3617340"/>
              <a:gd name="connsiteX8" fmla="*/ 7635709 w 7635710"/>
              <a:gd name="connsiteY8" fmla="*/ 602995 h 3617340"/>
              <a:gd name="connsiteX9" fmla="*/ 7635709 w 7635710"/>
              <a:gd name="connsiteY9" fmla="*/ 3014471 h 3617340"/>
              <a:gd name="connsiteX10" fmla="*/ 7635709 w 7635710"/>
              <a:gd name="connsiteY10" fmla="*/ 3014471 h 3617340"/>
              <a:gd name="connsiteX11" fmla="*/ 7032841 w 7635710"/>
              <a:gd name="connsiteY11" fmla="*/ 3617340 h 3617340"/>
              <a:gd name="connsiteX12" fmla="*/ 7032841 w 7635710"/>
              <a:gd name="connsiteY12" fmla="*/ 3617340 h 3617340"/>
              <a:gd name="connsiteX13" fmla="*/ 7032841 w 7635710"/>
              <a:gd name="connsiteY13" fmla="*/ 3617340 h 3617340"/>
              <a:gd name="connsiteX14" fmla="*/ 602957 w 7635710"/>
              <a:gd name="connsiteY14" fmla="*/ 3617340 h 3617340"/>
              <a:gd name="connsiteX15" fmla="*/ 602957 w 7635710"/>
              <a:gd name="connsiteY15" fmla="*/ 3617340 h 3617340"/>
              <a:gd name="connsiteX16" fmla="*/ 0 w 7635710"/>
              <a:gd name="connsiteY16" fmla="*/ 3014471 h 3617340"/>
              <a:gd name="connsiteX17" fmla="*/ 0 w 7635710"/>
              <a:gd name="connsiteY17" fmla="*/ 3014471 h 3617340"/>
              <a:gd name="connsiteX18" fmla="*/ 0 w 7635710"/>
              <a:gd name="connsiteY18" fmla="*/ 602995 h 361734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635710" h="3617340">
                <a:moveTo>
                  <a:pt x="0" y="602995"/>
                </a:moveTo>
                <a:cubicBezTo>
                  <a:pt x="0" y="270001"/>
                  <a:pt x="269925" y="0"/>
                  <a:pt x="602957" y="0"/>
                </a:cubicBezTo>
                <a:cubicBezTo>
                  <a:pt x="602957" y="0"/>
                  <a:pt x="602957" y="0"/>
                  <a:pt x="602957" y="0"/>
                </a:cubicBezTo>
                <a:lnTo>
                  <a:pt x="602957" y="0"/>
                </a:lnTo>
                <a:lnTo>
                  <a:pt x="7032841" y="0"/>
                </a:lnTo>
                <a:lnTo>
                  <a:pt x="7032841" y="0"/>
                </a:lnTo>
                <a:cubicBezTo>
                  <a:pt x="7365834" y="0"/>
                  <a:pt x="7635709" y="270001"/>
                  <a:pt x="7635709" y="602995"/>
                </a:cubicBezTo>
                <a:cubicBezTo>
                  <a:pt x="7635709" y="602995"/>
                  <a:pt x="7635709" y="602995"/>
                  <a:pt x="7635709" y="602995"/>
                </a:cubicBezTo>
                <a:lnTo>
                  <a:pt x="7635709" y="602995"/>
                </a:lnTo>
                <a:lnTo>
                  <a:pt x="7635709" y="3014471"/>
                </a:lnTo>
                <a:lnTo>
                  <a:pt x="7635709" y="3014471"/>
                </a:lnTo>
                <a:cubicBezTo>
                  <a:pt x="7635709" y="3347465"/>
                  <a:pt x="7365834" y="3617340"/>
                  <a:pt x="7032841" y="3617340"/>
                </a:cubicBezTo>
                <a:cubicBezTo>
                  <a:pt x="7032841" y="3617340"/>
                  <a:pt x="7032841" y="3617340"/>
                  <a:pt x="7032841" y="3617340"/>
                </a:cubicBezTo>
                <a:lnTo>
                  <a:pt x="7032841" y="3617340"/>
                </a:lnTo>
                <a:lnTo>
                  <a:pt x="602957" y="3617340"/>
                </a:lnTo>
                <a:lnTo>
                  <a:pt x="602957" y="3617340"/>
                </a:lnTo>
                <a:cubicBezTo>
                  <a:pt x="269925" y="3617340"/>
                  <a:pt x="0" y="3347465"/>
                  <a:pt x="0" y="3014471"/>
                </a:cubicBezTo>
                <a:cubicBezTo>
                  <a:pt x="0" y="3014471"/>
                  <a:pt x="0" y="3014471"/>
                  <a:pt x="0" y="3014471"/>
                </a:cubicBezTo>
                <a:lnTo>
                  <a:pt x="0" y="602995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12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634806"/>
            <a:ext cx="6725431" cy="3635970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1157478" algn="l"/>
                <a:tab pos="1891792" algn="l"/>
                <a:tab pos="2713228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1.Нормирова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:</a:t>
            </a:r>
          </a:p>
          <a:p>
            <a:pPr>
              <a:lnSpc>
                <a:spcPts val="2058"/>
              </a:lnSpc>
              <a:tabLst>
                <a:tab pos="584962" algn="l"/>
                <a:tab pos="1157478" algn="l"/>
                <a:tab pos="1891792" algn="l"/>
                <a:tab pos="2713228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законодатель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сновы</a:t>
            </a:r>
          </a:p>
          <a:p>
            <a:pPr>
              <a:lnSpc>
                <a:spcPts val="3528"/>
              </a:lnSpc>
              <a:tabLst>
                <a:tab pos="584962" algn="l"/>
                <a:tab pos="1157478" algn="l"/>
                <a:tab pos="1891792" algn="l"/>
                <a:tab pos="2713228" algn="l"/>
              </a:tabLst>
            </a:pPr>
            <a:r>
              <a:rPr lang="en-US" altLang="zh-CN" dirty="0" smtClean="0"/>
              <a:t>				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лава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2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К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Ф</a:t>
            </a:r>
          </a:p>
          <a:p>
            <a:pPr>
              <a:lnSpc>
                <a:spcPts val="1862"/>
              </a:lnSpc>
              <a:tabLst>
                <a:tab pos="584962" algn="l"/>
                <a:tab pos="1157478" algn="l"/>
                <a:tab pos="1891792" algn="l"/>
                <a:tab pos="2713228" algn="l"/>
              </a:tabLst>
            </a:pPr>
            <a:r>
              <a:rPr lang="en-US" altLang="zh-CN" dirty="0" smtClean="0"/>
              <a:t>	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основн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ть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ю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)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960"/>
              </a:lnSpc>
              <a:tabLst>
                <a:tab pos="584962" algn="l"/>
                <a:tab pos="1157478" algn="l"/>
                <a:tab pos="1891792" algn="l"/>
                <a:tab pos="2713228" algn="l"/>
              </a:tabLst>
            </a:pPr>
            <a:r>
              <a:rPr lang="en-US" altLang="zh-CN" dirty="0" smtClean="0"/>
              <a:t>		</a:t>
            </a:r>
            <a:r>
              <a:rPr lang="en-US" altLang="zh-CN" sz="1600" u="sng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тья 162. Введение, замена и пересмотр норм труда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646"/>
              </a:lnSpc>
              <a:tabLst>
                <a:tab pos="584962" algn="l"/>
                <a:tab pos="1157478" algn="l"/>
                <a:tab pos="1891792" algn="l"/>
                <a:tab pos="271322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окаль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тив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кты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усматривающие</a:t>
            </a:r>
          </a:p>
          <a:p>
            <a:pPr>
              <a:lnSpc>
                <a:spcPts val="2058"/>
              </a:lnSpc>
              <a:tabLst>
                <a:tab pos="584962" algn="l"/>
                <a:tab pos="1157478" algn="l"/>
                <a:tab pos="1891792" algn="l"/>
                <a:tab pos="271322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ведение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мену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отр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нимаются</a:t>
            </a:r>
          </a:p>
          <a:p>
            <a:pPr>
              <a:lnSpc>
                <a:spcPts val="2058"/>
              </a:lnSpc>
              <a:tabLst>
                <a:tab pos="584962" algn="l"/>
                <a:tab pos="1157478" algn="l"/>
                <a:tab pos="1891792" algn="l"/>
                <a:tab pos="271322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одателе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ет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н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ставительно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а</a:t>
            </a:r>
          </a:p>
          <a:p>
            <a:pPr>
              <a:lnSpc>
                <a:spcPts val="2058"/>
              </a:lnSpc>
              <a:tabLst>
                <a:tab pos="584962" algn="l"/>
                <a:tab pos="1157478" algn="l"/>
                <a:tab pos="1891792" algn="l"/>
                <a:tab pos="271322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ов.</a:t>
            </a:r>
          </a:p>
          <a:p>
            <a:pPr>
              <a:lnSpc>
                <a:spcPts val="2450"/>
              </a:lnSpc>
              <a:tabLst>
                <a:tab pos="584962" algn="l"/>
                <a:tab pos="1157478" algn="l"/>
                <a:tab pos="1891792" algn="l"/>
                <a:tab pos="271322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веден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лжн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ыть</a:t>
            </a:r>
          </a:p>
          <a:p>
            <a:pPr>
              <a:lnSpc>
                <a:spcPts val="2058"/>
              </a:lnSpc>
              <a:tabLst>
                <a:tab pos="584962" algn="l"/>
                <a:tab pos="1157478" algn="l"/>
                <a:tab pos="1891792" algn="l"/>
                <a:tab pos="271322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звещен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здне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е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в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сяца.</a:t>
            </a:r>
          </a:p>
        </p:txBody>
      </p:sp>
    </p:spTree>
    <p:extLst>
      <p:ext uri="{BB962C8B-B14F-4D97-AF65-F5344CB8AC3E}">
        <p14:creationId xmlns:p14="http://schemas.microsoft.com/office/powerpoint/2010/main" val="869082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670552" y="1103192"/>
            <a:ext cx="7831985" cy="4728308"/>
          </a:xfrm>
          <a:custGeom>
            <a:avLst/>
            <a:gdLst>
              <a:gd name="connsiteX0" fmla="*/ 0 w 7991538"/>
              <a:gd name="connsiteY0" fmla="*/ 804037 h 4824348"/>
              <a:gd name="connsiteX1" fmla="*/ 804100 w 7991538"/>
              <a:gd name="connsiteY1" fmla="*/ 0 h 4824348"/>
              <a:gd name="connsiteX2" fmla="*/ 804100 w 7991538"/>
              <a:gd name="connsiteY2" fmla="*/ 0 h 4824348"/>
              <a:gd name="connsiteX3" fmla="*/ 804100 w 7991538"/>
              <a:gd name="connsiteY3" fmla="*/ 0 h 4824348"/>
              <a:gd name="connsiteX4" fmla="*/ 7187374 w 7991538"/>
              <a:gd name="connsiteY4" fmla="*/ 0 h 4824348"/>
              <a:gd name="connsiteX5" fmla="*/ 7187374 w 7991538"/>
              <a:gd name="connsiteY5" fmla="*/ 0 h 4824348"/>
              <a:gd name="connsiteX6" fmla="*/ 7991411 w 7991538"/>
              <a:gd name="connsiteY6" fmla="*/ 804037 h 4824348"/>
              <a:gd name="connsiteX7" fmla="*/ 7991411 w 7991538"/>
              <a:gd name="connsiteY7" fmla="*/ 804037 h 4824348"/>
              <a:gd name="connsiteX8" fmla="*/ 7991411 w 7991538"/>
              <a:gd name="connsiteY8" fmla="*/ 804037 h 4824348"/>
              <a:gd name="connsiteX9" fmla="*/ 7991538 w 7991538"/>
              <a:gd name="connsiteY9" fmla="*/ 4020312 h 4824348"/>
              <a:gd name="connsiteX10" fmla="*/ 7991538 w 7991538"/>
              <a:gd name="connsiteY10" fmla="*/ 4020312 h 4824348"/>
              <a:gd name="connsiteX11" fmla="*/ 7187374 w 7991538"/>
              <a:gd name="connsiteY11" fmla="*/ 4824349 h 4824348"/>
              <a:gd name="connsiteX12" fmla="*/ 7187374 w 7991538"/>
              <a:gd name="connsiteY12" fmla="*/ 4824349 h 4824348"/>
              <a:gd name="connsiteX13" fmla="*/ 7187374 w 7991538"/>
              <a:gd name="connsiteY13" fmla="*/ 4824349 h 4824348"/>
              <a:gd name="connsiteX14" fmla="*/ 804100 w 7991538"/>
              <a:gd name="connsiteY14" fmla="*/ 4824349 h 4824348"/>
              <a:gd name="connsiteX15" fmla="*/ 804100 w 7991538"/>
              <a:gd name="connsiteY15" fmla="*/ 4824349 h 4824348"/>
              <a:gd name="connsiteX16" fmla="*/ 0 w 7991538"/>
              <a:gd name="connsiteY16" fmla="*/ 4020312 h 4824348"/>
              <a:gd name="connsiteX17" fmla="*/ 0 w 7991538"/>
              <a:gd name="connsiteY17" fmla="*/ 4020312 h 4824348"/>
              <a:gd name="connsiteX18" fmla="*/ 0 w 7991538"/>
              <a:gd name="connsiteY18" fmla="*/ 804037 h 482434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91538" h="4824348">
                <a:moveTo>
                  <a:pt x="0" y="804037"/>
                </a:moveTo>
                <a:cubicBezTo>
                  <a:pt x="0" y="359918"/>
                  <a:pt x="360006" y="0"/>
                  <a:pt x="804100" y="0"/>
                </a:cubicBezTo>
                <a:cubicBezTo>
                  <a:pt x="804100" y="0"/>
                  <a:pt x="804100" y="0"/>
                  <a:pt x="804100" y="0"/>
                </a:cubicBezTo>
                <a:lnTo>
                  <a:pt x="804100" y="0"/>
                </a:lnTo>
                <a:lnTo>
                  <a:pt x="7187374" y="0"/>
                </a:lnTo>
                <a:lnTo>
                  <a:pt x="7187374" y="0"/>
                </a:lnTo>
                <a:cubicBezTo>
                  <a:pt x="7631493" y="0"/>
                  <a:pt x="7991411" y="359918"/>
                  <a:pt x="7991411" y="804037"/>
                </a:cubicBezTo>
                <a:cubicBezTo>
                  <a:pt x="7991411" y="804037"/>
                  <a:pt x="7991411" y="804037"/>
                  <a:pt x="7991411" y="804037"/>
                </a:cubicBezTo>
                <a:lnTo>
                  <a:pt x="7991411" y="804037"/>
                </a:lnTo>
                <a:lnTo>
                  <a:pt x="7991538" y="4020312"/>
                </a:lnTo>
                <a:lnTo>
                  <a:pt x="7991538" y="4020312"/>
                </a:lnTo>
                <a:cubicBezTo>
                  <a:pt x="7991538" y="4464342"/>
                  <a:pt x="7631493" y="4824349"/>
                  <a:pt x="7187374" y="4824349"/>
                </a:cubicBezTo>
                <a:cubicBezTo>
                  <a:pt x="7187374" y="4824349"/>
                  <a:pt x="7187374" y="4824349"/>
                  <a:pt x="7187374" y="4824349"/>
                </a:cubicBezTo>
                <a:lnTo>
                  <a:pt x="7187374" y="4824349"/>
                </a:lnTo>
                <a:lnTo>
                  <a:pt x="804100" y="4824349"/>
                </a:lnTo>
                <a:lnTo>
                  <a:pt x="804100" y="4824349"/>
                </a:lnTo>
                <a:cubicBezTo>
                  <a:pt x="360006" y="4824349"/>
                  <a:pt x="0" y="4464342"/>
                  <a:pt x="0" y="4020312"/>
                </a:cubicBezTo>
                <a:cubicBezTo>
                  <a:pt x="0" y="4020312"/>
                  <a:pt x="0" y="4020312"/>
                  <a:pt x="0" y="4020312"/>
                </a:cubicBezTo>
                <a:lnTo>
                  <a:pt x="0" y="804037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845612" y="1879151"/>
            <a:ext cx="7481804" cy="3654776"/>
          </a:xfrm>
          <a:custGeom>
            <a:avLst/>
            <a:gdLst>
              <a:gd name="connsiteX0" fmla="*/ 0 w 7634223"/>
              <a:gd name="connsiteY0" fmla="*/ 621538 h 3729011"/>
              <a:gd name="connsiteX1" fmla="*/ 621537 w 7634223"/>
              <a:gd name="connsiteY1" fmla="*/ 0 h 3729011"/>
              <a:gd name="connsiteX2" fmla="*/ 621537 w 7634223"/>
              <a:gd name="connsiteY2" fmla="*/ 0 h 3729011"/>
              <a:gd name="connsiteX3" fmla="*/ 621537 w 7634223"/>
              <a:gd name="connsiteY3" fmla="*/ 0 h 3729011"/>
              <a:gd name="connsiteX4" fmla="*/ 7012685 w 7634223"/>
              <a:gd name="connsiteY4" fmla="*/ 0 h 3729011"/>
              <a:gd name="connsiteX5" fmla="*/ 7012685 w 7634223"/>
              <a:gd name="connsiteY5" fmla="*/ 0 h 3729011"/>
              <a:gd name="connsiteX6" fmla="*/ 7634223 w 7634223"/>
              <a:gd name="connsiteY6" fmla="*/ 621538 h 3729011"/>
              <a:gd name="connsiteX7" fmla="*/ 7634223 w 7634223"/>
              <a:gd name="connsiteY7" fmla="*/ 621538 h 3729011"/>
              <a:gd name="connsiteX8" fmla="*/ 7634223 w 7634223"/>
              <a:gd name="connsiteY8" fmla="*/ 621538 h 3729011"/>
              <a:gd name="connsiteX9" fmla="*/ 7634223 w 7634223"/>
              <a:gd name="connsiteY9" fmla="*/ 3107435 h 3729011"/>
              <a:gd name="connsiteX10" fmla="*/ 7634223 w 7634223"/>
              <a:gd name="connsiteY10" fmla="*/ 3107435 h 3729011"/>
              <a:gd name="connsiteX11" fmla="*/ 7012685 w 7634223"/>
              <a:gd name="connsiteY11" fmla="*/ 3729011 h 3729011"/>
              <a:gd name="connsiteX12" fmla="*/ 7012685 w 7634223"/>
              <a:gd name="connsiteY12" fmla="*/ 3729011 h 3729011"/>
              <a:gd name="connsiteX13" fmla="*/ 7012685 w 7634223"/>
              <a:gd name="connsiteY13" fmla="*/ 3729011 h 3729011"/>
              <a:gd name="connsiteX14" fmla="*/ 621537 w 7634223"/>
              <a:gd name="connsiteY14" fmla="*/ 3729011 h 3729011"/>
              <a:gd name="connsiteX15" fmla="*/ 621537 w 7634223"/>
              <a:gd name="connsiteY15" fmla="*/ 3729011 h 3729011"/>
              <a:gd name="connsiteX16" fmla="*/ 0 w 7634223"/>
              <a:gd name="connsiteY16" fmla="*/ 3107435 h 3729011"/>
              <a:gd name="connsiteX17" fmla="*/ 0 w 7634223"/>
              <a:gd name="connsiteY17" fmla="*/ 3107435 h 3729011"/>
              <a:gd name="connsiteX18" fmla="*/ 0 w 7634223"/>
              <a:gd name="connsiteY18" fmla="*/ 621538 h 372901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634223" h="3729011">
                <a:moveTo>
                  <a:pt x="0" y="621538"/>
                </a:moveTo>
                <a:cubicBezTo>
                  <a:pt x="0" y="278257"/>
                  <a:pt x="278269" y="0"/>
                  <a:pt x="621537" y="0"/>
                </a:cubicBezTo>
                <a:cubicBezTo>
                  <a:pt x="621537" y="0"/>
                  <a:pt x="621537" y="0"/>
                  <a:pt x="621537" y="0"/>
                </a:cubicBezTo>
                <a:lnTo>
                  <a:pt x="621537" y="0"/>
                </a:lnTo>
                <a:lnTo>
                  <a:pt x="7012685" y="0"/>
                </a:lnTo>
                <a:lnTo>
                  <a:pt x="7012685" y="0"/>
                </a:lnTo>
                <a:cubicBezTo>
                  <a:pt x="7355967" y="0"/>
                  <a:pt x="7634223" y="278257"/>
                  <a:pt x="7634223" y="621538"/>
                </a:cubicBezTo>
                <a:cubicBezTo>
                  <a:pt x="7634223" y="621538"/>
                  <a:pt x="7634223" y="621538"/>
                  <a:pt x="7634223" y="621538"/>
                </a:cubicBezTo>
                <a:lnTo>
                  <a:pt x="7634223" y="621538"/>
                </a:lnTo>
                <a:lnTo>
                  <a:pt x="7634223" y="3107435"/>
                </a:lnTo>
                <a:lnTo>
                  <a:pt x="7634223" y="3107435"/>
                </a:lnTo>
                <a:cubicBezTo>
                  <a:pt x="7634223" y="3450716"/>
                  <a:pt x="7355967" y="3729011"/>
                  <a:pt x="7012685" y="3729011"/>
                </a:cubicBezTo>
                <a:cubicBezTo>
                  <a:pt x="7012685" y="3729011"/>
                  <a:pt x="7012685" y="3729011"/>
                  <a:pt x="7012685" y="3729011"/>
                </a:cubicBezTo>
                <a:lnTo>
                  <a:pt x="7012685" y="3729011"/>
                </a:lnTo>
                <a:lnTo>
                  <a:pt x="621537" y="3729011"/>
                </a:lnTo>
                <a:lnTo>
                  <a:pt x="621537" y="3729011"/>
                </a:lnTo>
                <a:cubicBezTo>
                  <a:pt x="278269" y="3729011"/>
                  <a:pt x="0" y="3450716"/>
                  <a:pt x="0" y="3107435"/>
                </a:cubicBezTo>
                <a:cubicBezTo>
                  <a:pt x="0" y="3107435"/>
                  <a:pt x="0" y="3107435"/>
                  <a:pt x="0" y="3107435"/>
                </a:cubicBezTo>
                <a:lnTo>
                  <a:pt x="0" y="621538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13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672147"/>
            <a:ext cx="7545592" cy="4777308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647192" algn="l"/>
                <a:tab pos="1891792" algn="l"/>
                <a:tab pos="2713228" algn="l"/>
                <a:tab pos="3248406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1.Нормирова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:</a:t>
            </a:r>
          </a:p>
          <a:p>
            <a:pPr>
              <a:lnSpc>
                <a:spcPts val="2058"/>
              </a:lnSpc>
              <a:tabLst>
                <a:tab pos="584962" algn="l"/>
                <a:tab pos="647192" algn="l"/>
                <a:tab pos="1891792" algn="l"/>
                <a:tab pos="2713228" algn="l"/>
                <a:tab pos="3248406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законодатель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сновы</a:t>
            </a:r>
          </a:p>
          <a:p>
            <a:pPr>
              <a:lnSpc>
                <a:spcPts val="3528"/>
              </a:lnSpc>
              <a:tabLst>
                <a:tab pos="584962" algn="l"/>
                <a:tab pos="647192" algn="l"/>
                <a:tab pos="1891792" algn="l"/>
                <a:tab pos="2713228" algn="l"/>
                <a:tab pos="3248406" algn="l"/>
              </a:tabLst>
            </a:pPr>
            <a:r>
              <a:rPr lang="en-US" altLang="zh-CN" dirty="0" smtClean="0"/>
              <a:t>				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лава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2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К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Ф</a:t>
            </a:r>
          </a:p>
          <a:p>
            <a:pPr>
              <a:lnSpc>
                <a:spcPts val="1862"/>
              </a:lnSpc>
              <a:tabLst>
                <a:tab pos="584962" algn="l"/>
                <a:tab pos="647192" algn="l"/>
                <a:tab pos="1891792" algn="l"/>
                <a:tab pos="2713228" algn="l"/>
                <a:tab pos="3248406" algn="l"/>
              </a:tabLst>
            </a:pPr>
            <a:r>
              <a:rPr lang="en-US" altLang="zh-CN" dirty="0" smtClean="0"/>
              <a:t>	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основн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ть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ю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)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960"/>
              </a:lnSpc>
              <a:tabLst>
                <a:tab pos="584962" algn="l"/>
                <a:tab pos="647192" algn="l"/>
                <a:tab pos="1891792" algn="l"/>
                <a:tab pos="2713228" algn="l"/>
                <a:tab pos="3248406" algn="l"/>
              </a:tabLst>
            </a:pPr>
            <a:r>
              <a:rPr lang="en-US" altLang="zh-CN" dirty="0" smtClean="0"/>
              <a:t>		</a:t>
            </a:r>
            <a:r>
              <a:rPr lang="en-US" altLang="zh-CN" sz="1600" u="sng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тья 163. Обеспечение нормальных условий работы для выполнения</a:t>
            </a:r>
          </a:p>
          <a:p>
            <a:pPr>
              <a:lnSpc>
                <a:spcPts val="1862"/>
              </a:lnSpc>
              <a:tabLst>
                <a:tab pos="584962" algn="l"/>
                <a:tab pos="647192" algn="l"/>
                <a:tab pos="1891792" algn="l"/>
                <a:tab pos="2713228" algn="l"/>
                <a:tab pos="3248406" algn="l"/>
              </a:tabLst>
            </a:pPr>
            <a:r>
              <a:rPr lang="en-US" altLang="zh-CN" dirty="0" smtClean="0"/>
              <a:t>					</a:t>
            </a:r>
            <a:r>
              <a:rPr lang="en-US" altLang="zh-CN" sz="1600" u="sng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 выработки</a:t>
            </a:r>
          </a:p>
          <a:p>
            <a:pPr>
              <a:lnSpc>
                <a:spcPts val="1862"/>
              </a:lnSpc>
              <a:tabLst>
                <a:tab pos="584962" algn="l"/>
                <a:tab pos="647192" algn="l"/>
                <a:tab pos="1891792" algn="l"/>
                <a:tab pos="2713228" algn="l"/>
                <a:tab pos="3248406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одател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язан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еспечит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льн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я</a:t>
            </a:r>
          </a:p>
          <a:p>
            <a:pPr>
              <a:lnSpc>
                <a:spcPts val="1862"/>
              </a:lnSpc>
              <a:tabLst>
                <a:tab pos="584962" algn="l"/>
                <a:tab pos="647192" algn="l"/>
                <a:tab pos="1891792" algn="l"/>
                <a:tab pos="2713228" algn="l"/>
                <a:tab pos="3248406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ам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работки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аки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ям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астност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носятся:</a:t>
            </a:r>
          </a:p>
          <a:p>
            <a:pPr>
              <a:lnSpc>
                <a:spcPts val="2254"/>
              </a:lnSpc>
              <a:tabLst>
                <a:tab pos="584962" algn="l"/>
                <a:tab pos="647192" algn="l"/>
                <a:tab pos="1891792" algn="l"/>
                <a:tab pos="2713228" algn="l"/>
                <a:tab pos="3248406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равно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стоя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мещений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оружений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ашин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ологической</a:t>
            </a:r>
          </a:p>
          <a:p>
            <a:pPr>
              <a:lnSpc>
                <a:spcPts val="1862"/>
              </a:lnSpc>
              <a:tabLst>
                <a:tab pos="584962" algn="l"/>
                <a:tab pos="647192" algn="l"/>
                <a:tab pos="1891792" algn="l"/>
                <a:tab pos="2713228" algn="l"/>
                <a:tab pos="3248406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аст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орудования;</a:t>
            </a:r>
          </a:p>
          <a:p>
            <a:pPr>
              <a:lnSpc>
                <a:spcPts val="2254"/>
              </a:lnSpc>
              <a:tabLst>
                <a:tab pos="584962" algn="l"/>
                <a:tab pos="647192" algn="l"/>
                <a:tab pos="1891792" algn="l"/>
                <a:tab pos="2713228" algn="l"/>
                <a:tab pos="3248406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воевременно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еспече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ическо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но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обходимо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</a:p>
          <a:p>
            <a:pPr>
              <a:lnSpc>
                <a:spcPts val="1862"/>
              </a:lnSpc>
              <a:tabLst>
                <a:tab pos="584962" algn="l"/>
                <a:tab pos="647192" algn="l"/>
                <a:tab pos="1891792" algn="l"/>
                <a:tab pos="2713228" algn="l"/>
                <a:tab pos="3248406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кументацией;</a:t>
            </a:r>
          </a:p>
          <a:p>
            <a:pPr>
              <a:lnSpc>
                <a:spcPts val="2254"/>
              </a:lnSpc>
              <a:tabLst>
                <a:tab pos="584962" algn="l"/>
                <a:tab pos="647192" algn="l"/>
                <a:tab pos="1891792" algn="l"/>
                <a:tab pos="2713228" algn="l"/>
                <a:tab pos="3248406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длежаще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ачеств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атериалов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нструментов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редст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1862"/>
              </a:lnSpc>
              <a:tabLst>
                <a:tab pos="584962" algn="l"/>
                <a:tab pos="647192" algn="l"/>
                <a:tab pos="1891792" algn="l"/>
                <a:tab pos="2713228" algn="l"/>
                <a:tab pos="3248406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метов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обходим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воевременное</a:t>
            </a:r>
          </a:p>
          <a:p>
            <a:pPr>
              <a:lnSpc>
                <a:spcPts val="1862"/>
              </a:lnSpc>
              <a:tabLst>
                <a:tab pos="584962" algn="l"/>
                <a:tab pos="647192" algn="l"/>
                <a:tab pos="1891792" algn="l"/>
                <a:tab pos="2713228" algn="l"/>
                <a:tab pos="3248406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оставле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у;</a:t>
            </a:r>
          </a:p>
          <a:p>
            <a:pPr>
              <a:lnSpc>
                <a:spcPts val="2254"/>
              </a:lnSpc>
              <a:tabLst>
                <a:tab pos="584962" algn="l"/>
                <a:tab pos="647192" algn="l"/>
                <a:tab pos="1891792" algn="l"/>
                <a:tab pos="2713228" algn="l"/>
                <a:tab pos="3248406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ответствующ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ебования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хран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1862"/>
              </a:lnSpc>
              <a:tabLst>
                <a:tab pos="584962" algn="l"/>
                <a:tab pos="647192" algn="l"/>
                <a:tab pos="1891792" algn="l"/>
                <a:tab pos="2713228" algn="l"/>
                <a:tab pos="3248406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езопасно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изводства.</a:t>
            </a:r>
          </a:p>
        </p:txBody>
      </p:sp>
    </p:spTree>
    <p:extLst>
      <p:ext uri="{BB962C8B-B14F-4D97-AF65-F5344CB8AC3E}">
        <p14:creationId xmlns:p14="http://schemas.microsoft.com/office/powerpoint/2010/main" val="4200415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670552" y="1103193"/>
            <a:ext cx="7831985" cy="4656736"/>
          </a:xfrm>
          <a:custGeom>
            <a:avLst/>
            <a:gdLst>
              <a:gd name="connsiteX0" fmla="*/ 0 w 7991538"/>
              <a:gd name="connsiteY0" fmla="*/ 791844 h 4751323"/>
              <a:gd name="connsiteX1" fmla="*/ 791908 w 7991538"/>
              <a:gd name="connsiteY1" fmla="*/ 0 h 4751323"/>
              <a:gd name="connsiteX2" fmla="*/ 791908 w 7991538"/>
              <a:gd name="connsiteY2" fmla="*/ 0 h 4751323"/>
              <a:gd name="connsiteX3" fmla="*/ 791908 w 7991538"/>
              <a:gd name="connsiteY3" fmla="*/ 0 h 4751323"/>
              <a:gd name="connsiteX4" fmla="*/ 7199566 w 7991538"/>
              <a:gd name="connsiteY4" fmla="*/ 0 h 4751323"/>
              <a:gd name="connsiteX5" fmla="*/ 7199566 w 7991538"/>
              <a:gd name="connsiteY5" fmla="*/ 0 h 4751323"/>
              <a:gd name="connsiteX6" fmla="*/ 7991411 w 7991538"/>
              <a:gd name="connsiteY6" fmla="*/ 791844 h 4751323"/>
              <a:gd name="connsiteX7" fmla="*/ 7991411 w 7991538"/>
              <a:gd name="connsiteY7" fmla="*/ 791844 h 4751323"/>
              <a:gd name="connsiteX8" fmla="*/ 7991411 w 7991538"/>
              <a:gd name="connsiteY8" fmla="*/ 791844 h 4751323"/>
              <a:gd name="connsiteX9" fmla="*/ 7991538 w 7991538"/>
              <a:gd name="connsiteY9" fmla="*/ 3959352 h 4751323"/>
              <a:gd name="connsiteX10" fmla="*/ 7991538 w 7991538"/>
              <a:gd name="connsiteY10" fmla="*/ 3959352 h 4751323"/>
              <a:gd name="connsiteX11" fmla="*/ 7199566 w 7991538"/>
              <a:gd name="connsiteY11" fmla="*/ 4751324 h 4751323"/>
              <a:gd name="connsiteX12" fmla="*/ 7199566 w 7991538"/>
              <a:gd name="connsiteY12" fmla="*/ 4751324 h 4751323"/>
              <a:gd name="connsiteX13" fmla="*/ 7199566 w 7991538"/>
              <a:gd name="connsiteY13" fmla="*/ 4751324 h 4751323"/>
              <a:gd name="connsiteX14" fmla="*/ 791908 w 7991538"/>
              <a:gd name="connsiteY14" fmla="*/ 4751324 h 4751323"/>
              <a:gd name="connsiteX15" fmla="*/ 791908 w 7991538"/>
              <a:gd name="connsiteY15" fmla="*/ 4751324 h 4751323"/>
              <a:gd name="connsiteX16" fmla="*/ 0 w 7991538"/>
              <a:gd name="connsiteY16" fmla="*/ 3959352 h 4751323"/>
              <a:gd name="connsiteX17" fmla="*/ 0 w 7991538"/>
              <a:gd name="connsiteY17" fmla="*/ 3959352 h 4751323"/>
              <a:gd name="connsiteX18" fmla="*/ 0 w 7991538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91538" h="4751323">
                <a:moveTo>
                  <a:pt x="0" y="791844"/>
                </a:moveTo>
                <a:cubicBezTo>
                  <a:pt x="0" y="354457"/>
                  <a:pt x="354558" y="0"/>
                  <a:pt x="791908" y="0"/>
                </a:cubicBezTo>
                <a:cubicBezTo>
                  <a:pt x="791908" y="0"/>
                  <a:pt x="791908" y="0"/>
                  <a:pt x="791908" y="0"/>
                </a:cubicBezTo>
                <a:lnTo>
                  <a:pt x="791908" y="0"/>
                </a:lnTo>
                <a:lnTo>
                  <a:pt x="7199566" y="0"/>
                </a:lnTo>
                <a:lnTo>
                  <a:pt x="7199566" y="0"/>
                </a:lnTo>
                <a:cubicBezTo>
                  <a:pt x="7636954" y="0"/>
                  <a:pt x="7991411" y="354457"/>
                  <a:pt x="7991411" y="791844"/>
                </a:cubicBezTo>
                <a:cubicBezTo>
                  <a:pt x="7991411" y="791844"/>
                  <a:pt x="7991411" y="791844"/>
                  <a:pt x="7991411" y="791844"/>
                </a:cubicBezTo>
                <a:lnTo>
                  <a:pt x="7991411" y="791844"/>
                </a:lnTo>
                <a:lnTo>
                  <a:pt x="7991538" y="3959352"/>
                </a:lnTo>
                <a:lnTo>
                  <a:pt x="7991538" y="3959352"/>
                </a:lnTo>
                <a:cubicBezTo>
                  <a:pt x="7991538" y="4396739"/>
                  <a:pt x="7636954" y="4751324"/>
                  <a:pt x="7199566" y="4751324"/>
                </a:cubicBezTo>
                <a:cubicBezTo>
                  <a:pt x="7199566" y="4751324"/>
                  <a:pt x="7199566" y="4751324"/>
                  <a:pt x="7199566" y="4751324"/>
                </a:cubicBezTo>
                <a:lnTo>
                  <a:pt x="7199566" y="4751324"/>
                </a:lnTo>
                <a:lnTo>
                  <a:pt x="791908" y="4751324"/>
                </a:lnTo>
                <a:lnTo>
                  <a:pt x="791908" y="4751324"/>
                </a:lnTo>
                <a:cubicBezTo>
                  <a:pt x="354558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845612" y="1867449"/>
            <a:ext cx="7481804" cy="3599350"/>
          </a:xfrm>
          <a:custGeom>
            <a:avLst/>
            <a:gdLst>
              <a:gd name="connsiteX0" fmla="*/ 0 w 7634223"/>
              <a:gd name="connsiteY0" fmla="*/ 612013 h 3672459"/>
              <a:gd name="connsiteX1" fmla="*/ 612139 w 7634223"/>
              <a:gd name="connsiteY1" fmla="*/ 0 h 3672459"/>
              <a:gd name="connsiteX2" fmla="*/ 612139 w 7634223"/>
              <a:gd name="connsiteY2" fmla="*/ 0 h 3672459"/>
              <a:gd name="connsiteX3" fmla="*/ 612139 w 7634223"/>
              <a:gd name="connsiteY3" fmla="*/ 0 h 3672459"/>
              <a:gd name="connsiteX4" fmla="*/ 7022083 w 7634223"/>
              <a:gd name="connsiteY4" fmla="*/ 0 h 3672459"/>
              <a:gd name="connsiteX5" fmla="*/ 7022083 w 7634223"/>
              <a:gd name="connsiteY5" fmla="*/ 0 h 3672459"/>
              <a:gd name="connsiteX6" fmla="*/ 7634223 w 7634223"/>
              <a:gd name="connsiteY6" fmla="*/ 612013 h 3672459"/>
              <a:gd name="connsiteX7" fmla="*/ 7634223 w 7634223"/>
              <a:gd name="connsiteY7" fmla="*/ 612013 h 3672459"/>
              <a:gd name="connsiteX8" fmla="*/ 7634223 w 7634223"/>
              <a:gd name="connsiteY8" fmla="*/ 612013 h 3672459"/>
              <a:gd name="connsiteX9" fmla="*/ 7634223 w 7634223"/>
              <a:gd name="connsiteY9" fmla="*/ 3060446 h 3672459"/>
              <a:gd name="connsiteX10" fmla="*/ 7634223 w 7634223"/>
              <a:gd name="connsiteY10" fmla="*/ 3060446 h 3672459"/>
              <a:gd name="connsiteX11" fmla="*/ 7022083 w 7634223"/>
              <a:gd name="connsiteY11" fmla="*/ 3672459 h 3672459"/>
              <a:gd name="connsiteX12" fmla="*/ 7022083 w 7634223"/>
              <a:gd name="connsiteY12" fmla="*/ 3672459 h 3672459"/>
              <a:gd name="connsiteX13" fmla="*/ 7022083 w 7634223"/>
              <a:gd name="connsiteY13" fmla="*/ 3672459 h 3672459"/>
              <a:gd name="connsiteX14" fmla="*/ 612139 w 7634223"/>
              <a:gd name="connsiteY14" fmla="*/ 3672459 h 3672459"/>
              <a:gd name="connsiteX15" fmla="*/ 612139 w 7634223"/>
              <a:gd name="connsiteY15" fmla="*/ 3672459 h 3672459"/>
              <a:gd name="connsiteX16" fmla="*/ 0 w 7634223"/>
              <a:gd name="connsiteY16" fmla="*/ 3060446 h 3672459"/>
              <a:gd name="connsiteX17" fmla="*/ 0 w 7634223"/>
              <a:gd name="connsiteY17" fmla="*/ 3060446 h 3672459"/>
              <a:gd name="connsiteX18" fmla="*/ 0 w 76342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634223" h="3672459">
                <a:moveTo>
                  <a:pt x="0" y="612013"/>
                </a:moveTo>
                <a:cubicBezTo>
                  <a:pt x="0" y="273939"/>
                  <a:pt x="274053" y="0"/>
                  <a:pt x="612139" y="0"/>
                </a:cubicBezTo>
                <a:cubicBezTo>
                  <a:pt x="612139" y="0"/>
                  <a:pt x="612139" y="0"/>
                  <a:pt x="612139" y="0"/>
                </a:cubicBezTo>
                <a:lnTo>
                  <a:pt x="612139" y="0"/>
                </a:lnTo>
                <a:lnTo>
                  <a:pt x="7022083" y="0"/>
                </a:lnTo>
                <a:lnTo>
                  <a:pt x="7022083" y="0"/>
                </a:lnTo>
                <a:cubicBezTo>
                  <a:pt x="7360157" y="0"/>
                  <a:pt x="7634223" y="273939"/>
                  <a:pt x="7634223" y="612013"/>
                </a:cubicBezTo>
                <a:cubicBezTo>
                  <a:pt x="7634223" y="612013"/>
                  <a:pt x="7634223" y="612013"/>
                  <a:pt x="7634223" y="612013"/>
                </a:cubicBezTo>
                <a:lnTo>
                  <a:pt x="7634223" y="612013"/>
                </a:lnTo>
                <a:lnTo>
                  <a:pt x="7634223" y="3060446"/>
                </a:lnTo>
                <a:lnTo>
                  <a:pt x="7634223" y="3060446"/>
                </a:lnTo>
                <a:cubicBezTo>
                  <a:pt x="7634223" y="3398520"/>
                  <a:pt x="7360157" y="3672459"/>
                  <a:pt x="7022083" y="3672459"/>
                </a:cubicBezTo>
                <a:cubicBezTo>
                  <a:pt x="7022083" y="3672459"/>
                  <a:pt x="7022083" y="3672459"/>
                  <a:pt x="7022083" y="3672459"/>
                </a:cubicBezTo>
                <a:lnTo>
                  <a:pt x="7022083" y="3672459"/>
                </a:lnTo>
                <a:lnTo>
                  <a:pt x="612139" y="3672459"/>
                </a:lnTo>
                <a:lnTo>
                  <a:pt x="612139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14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634806"/>
            <a:ext cx="6801862" cy="348208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1393952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1.Нормирова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:</a:t>
            </a:r>
          </a:p>
          <a:p>
            <a:pPr>
              <a:lnSpc>
                <a:spcPts val="2058"/>
              </a:lnSpc>
              <a:tabLst>
                <a:tab pos="584962" algn="l"/>
                <a:tab pos="1393952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законодатель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сновы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960"/>
              </a:lnSpc>
              <a:tabLst>
                <a:tab pos="584962" algn="l"/>
                <a:tab pos="1393952" algn="l"/>
              </a:tabLst>
            </a:pPr>
            <a:r>
              <a:rPr lang="en-US" altLang="zh-CN" dirty="0" smtClean="0"/>
              <a:t>	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лож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352"/>
              </a:lnSpc>
              <a:tabLst>
                <a:tab pos="584962" algn="l"/>
                <a:tab pos="1393952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.Полож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</a:p>
          <a:p>
            <a:pPr>
              <a:lnSpc>
                <a:spcPts val="2058"/>
              </a:lnSpc>
              <a:tabLst>
                <a:tab pos="584962" algn="l"/>
                <a:tab pos="1393952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родн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хозяйств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9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юн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986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.</a:t>
            </a:r>
          </a:p>
          <a:p>
            <a:pPr>
              <a:lnSpc>
                <a:spcPts val="2450"/>
              </a:lnSpc>
              <a:tabLst>
                <a:tab pos="584962" algn="l"/>
                <a:tab pos="1393952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.Полож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999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</a:t>
            </a:r>
          </a:p>
          <a:p>
            <a:pPr>
              <a:lnSpc>
                <a:spcPts val="2058"/>
              </a:lnSpc>
              <a:tabLst>
                <a:tab pos="584962" algn="l"/>
                <a:tab pos="1393952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проект).</a:t>
            </a:r>
          </a:p>
          <a:p>
            <a:pPr>
              <a:lnSpc>
                <a:spcPts val="2450"/>
              </a:lnSpc>
              <a:tabLst>
                <a:tab pos="584962" algn="l"/>
                <a:tab pos="1393952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.Полож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</a:p>
          <a:p>
            <a:pPr>
              <a:lnSpc>
                <a:spcPts val="2058"/>
              </a:lnSpc>
              <a:tabLst>
                <a:tab pos="584962" algn="l"/>
                <a:tab pos="1393952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я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кономики</a:t>
            </a:r>
          </a:p>
        </p:txBody>
      </p:sp>
    </p:spTree>
    <p:extLst>
      <p:ext uri="{BB962C8B-B14F-4D97-AF65-F5344CB8AC3E}">
        <p14:creationId xmlns:p14="http://schemas.microsoft.com/office/powerpoint/2010/main" val="1775642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98984" y="1173146"/>
            <a:ext cx="7833479" cy="4586784"/>
          </a:xfrm>
          <a:custGeom>
            <a:avLst/>
            <a:gdLst>
              <a:gd name="connsiteX0" fmla="*/ 0 w 7993062"/>
              <a:gd name="connsiteY0" fmla="*/ 780033 h 4679950"/>
              <a:gd name="connsiteX1" fmla="*/ 779970 w 7993062"/>
              <a:gd name="connsiteY1" fmla="*/ 0 h 4679950"/>
              <a:gd name="connsiteX2" fmla="*/ 779970 w 7993062"/>
              <a:gd name="connsiteY2" fmla="*/ 0 h 4679950"/>
              <a:gd name="connsiteX3" fmla="*/ 779970 w 7993062"/>
              <a:gd name="connsiteY3" fmla="*/ 0 h 4679950"/>
              <a:gd name="connsiteX4" fmla="*/ 7213028 w 7993062"/>
              <a:gd name="connsiteY4" fmla="*/ 0 h 4679950"/>
              <a:gd name="connsiteX5" fmla="*/ 7213028 w 7993062"/>
              <a:gd name="connsiteY5" fmla="*/ 0 h 4679950"/>
              <a:gd name="connsiteX6" fmla="*/ 7993062 w 7993062"/>
              <a:gd name="connsiteY6" fmla="*/ 780033 h 4679950"/>
              <a:gd name="connsiteX7" fmla="*/ 7993062 w 7993062"/>
              <a:gd name="connsiteY7" fmla="*/ 780033 h 4679950"/>
              <a:gd name="connsiteX8" fmla="*/ 7993062 w 7993062"/>
              <a:gd name="connsiteY8" fmla="*/ 780033 h 4679950"/>
              <a:gd name="connsiteX9" fmla="*/ 7993062 w 7993062"/>
              <a:gd name="connsiteY9" fmla="*/ 3899915 h 4679950"/>
              <a:gd name="connsiteX10" fmla="*/ 7993062 w 7993062"/>
              <a:gd name="connsiteY10" fmla="*/ 3899915 h 4679950"/>
              <a:gd name="connsiteX11" fmla="*/ 7213028 w 7993062"/>
              <a:gd name="connsiteY11" fmla="*/ 4679950 h 4679950"/>
              <a:gd name="connsiteX12" fmla="*/ 7213028 w 7993062"/>
              <a:gd name="connsiteY12" fmla="*/ 4679950 h 4679950"/>
              <a:gd name="connsiteX13" fmla="*/ 7213028 w 7993062"/>
              <a:gd name="connsiteY13" fmla="*/ 4679950 h 4679950"/>
              <a:gd name="connsiteX14" fmla="*/ 779970 w 7993062"/>
              <a:gd name="connsiteY14" fmla="*/ 4679950 h 4679950"/>
              <a:gd name="connsiteX15" fmla="*/ 779970 w 7993062"/>
              <a:gd name="connsiteY15" fmla="*/ 4679950 h 4679950"/>
              <a:gd name="connsiteX16" fmla="*/ 0 w 7993062"/>
              <a:gd name="connsiteY16" fmla="*/ 3899915 h 4679950"/>
              <a:gd name="connsiteX17" fmla="*/ 0 w 7993062"/>
              <a:gd name="connsiteY17" fmla="*/ 3899915 h 4679950"/>
              <a:gd name="connsiteX18" fmla="*/ 0 w 7993062"/>
              <a:gd name="connsiteY18" fmla="*/ 780033 h 467995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93062" h="4679950">
                <a:moveTo>
                  <a:pt x="0" y="780033"/>
                </a:moveTo>
                <a:cubicBezTo>
                  <a:pt x="0" y="349250"/>
                  <a:pt x="349224" y="0"/>
                  <a:pt x="779970" y="0"/>
                </a:cubicBezTo>
                <a:cubicBezTo>
                  <a:pt x="779970" y="0"/>
                  <a:pt x="779970" y="0"/>
                  <a:pt x="779970" y="0"/>
                </a:cubicBezTo>
                <a:lnTo>
                  <a:pt x="779970" y="0"/>
                </a:lnTo>
                <a:lnTo>
                  <a:pt x="7213028" y="0"/>
                </a:lnTo>
                <a:lnTo>
                  <a:pt x="7213028" y="0"/>
                </a:lnTo>
                <a:cubicBezTo>
                  <a:pt x="7643812" y="0"/>
                  <a:pt x="7993062" y="349250"/>
                  <a:pt x="7993062" y="780033"/>
                </a:cubicBezTo>
                <a:cubicBezTo>
                  <a:pt x="7993062" y="780033"/>
                  <a:pt x="7993062" y="780033"/>
                  <a:pt x="7993062" y="780033"/>
                </a:cubicBezTo>
                <a:lnTo>
                  <a:pt x="7993062" y="780033"/>
                </a:lnTo>
                <a:lnTo>
                  <a:pt x="7993062" y="3899915"/>
                </a:lnTo>
                <a:lnTo>
                  <a:pt x="7993062" y="3899915"/>
                </a:lnTo>
                <a:cubicBezTo>
                  <a:pt x="7993062" y="4330700"/>
                  <a:pt x="7643812" y="4679950"/>
                  <a:pt x="7213028" y="4679950"/>
                </a:cubicBezTo>
                <a:cubicBezTo>
                  <a:pt x="7213028" y="4679950"/>
                  <a:pt x="7213028" y="4679950"/>
                  <a:pt x="7213028" y="4679950"/>
                </a:cubicBezTo>
                <a:lnTo>
                  <a:pt x="7213028" y="4679950"/>
                </a:lnTo>
                <a:lnTo>
                  <a:pt x="779970" y="4679950"/>
                </a:lnTo>
                <a:lnTo>
                  <a:pt x="779970" y="4679950"/>
                </a:lnTo>
                <a:cubicBezTo>
                  <a:pt x="349224" y="4679950"/>
                  <a:pt x="0" y="4330700"/>
                  <a:pt x="0" y="3899915"/>
                </a:cubicBezTo>
                <a:cubicBezTo>
                  <a:pt x="0" y="3899915"/>
                  <a:pt x="0" y="3899915"/>
                  <a:pt x="0" y="3899915"/>
                </a:cubicBezTo>
                <a:lnTo>
                  <a:pt x="0" y="780033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74082" y="1925951"/>
            <a:ext cx="7483261" cy="3545329"/>
          </a:xfrm>
          <a:custGeom>
            <a:avLst/>
            <a:gdLst>
              <a:gd name="connsiteX0" fmla="*/ 0 w 7635710"/>
              <a:gd name="connsiteY0" fmla="*/ 602869 h 3617341"/>
              <a:gd name="connsiteX1" fmla="*/ 602957 w 7635710"/>
              <a:gd name="connsiteY1" fmla="*/ 0 h 3617341"/>
              <a:gd name="connsiteX2" fmla="*/ 602957 w 7635710"/>
              <a:gd name="connsiteY2" fmla="*/ 0 h 3617341"/>
              <a:gd name="connsiteX3" fmla="*/ 602957 w 7635710"/>
              <a:gd name="connsiteY3" fmla="*/ 0 h 3617341"/>
              <a:gd name="connsiteX4" fmla="*/ 7032841 w 7635710"/>
              <a:gd name="connsiteY4" fmla="*/ 0 h 3617341"/>
              <a:gd name="connsiteX5" fmla="*/ 7032841 w 7635710"/>
              <a:gd name="connsiteY5" fmla="*/ 0 h 3617341"/>
              <a:gd name="connsiteX6" fmla="*/ 7635709 w 7635710"/>
              <a:gd name="connsiteY6" fmla="*/ 602869 h 3617341"/>
              <a:gd name="connsiteX7" fmla="*/ 7635709 w 7635710"/>
              <a:gd name="connsiteY7" fmla="*/ 602869 h 3617341"/>
              <a:gd name="connsiteX8" fmla="*/ 7635709 w 7635710"/>
              <a:gd name="connsiteY8" fmla="*/ 602869 h 3617341"/>
              <a:gd name="connsiteX9" fmla="*/ 7635709 w 7635710"/>
              <a:gd name="connsiteY9" fmla="*/ 3014472 h 3617341"/>
              <a:gd name="connsiteX10" fmla="*/ 7635709 w 7635710"/>
              <a:gd name="connsiteY10" fmla="*/ 3014472 h 3617341"/>
              <a:gd name="connsiteX11" fmla="*/ 7032841 w 7635710"/>
              <a:gd name="connsiteY11" fmla="*/ 3617341 h 3617341"/>
              <a:gd name="connsiteX12" fmla="*/ 7032841 w 7635710"/>
              <a:gd name="connsiteY12" fmla="*/ 3617341 h 3617341"/>
              <a:gd name="connsiteX13" fmla="*/ 7032841 w 7635710"/>
              <a:gd name="connsiteY13" fmla="*/ 3617341 h 3617341"/>
              <a:gd name="connsiteX14" fmla="*/ 602957 w 7635710"/>
              <a:gd name="connsiteY14" fmla="*/ 3617341 h 3617341"/>
              <a:gd name="connsiteX15" fmla="*/ 602957 w 7635710"/>
              <a:gd name="connsiteY15" fmla="*/ 3617341 h 3617341"/>
              <a:gd name="connsiteX16" fmla="*/ 0 w 7635710"/>
              <a:gd name="connsiteY16" fmla="*/ 3014472 h 3617341"/>
              <a:gd name="connsiteX17" fmla="*/ 0 w 7635710"/>
              <a:gd name="connsiteY17" fmla="*/ 3014472 h 3617341"/>
              <a:gd name="connsiteX18" fmla="*/ 0 w 7635710"/>
              <a:gd name="connsiteY18" fmla="*/ 602869 h 361734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635710" h="3617341">
                <a:moveTo>
                  <a:pt x="0" y="602869"/>
                </a:moveTo>
                <a:cubicBezTo>
                  <a:pt x="0" y="269875"/>
                  <a:pt x="269925" y="0"/>
                  <a:pt x="602957" y="0"/>
                </a:cubicBezTo>
                <a:cubicBezTo>
                  <a:pt x="602957" y="0"/>
                  <a:pt x="602957" y="0"/>
                  <a:pt x="602957" y="0"/>
                </a:cubicBezTo>
                <a:lnTo>
                  <a:pt x="602957" y="0"/>
                </a:lnTo>
                <a:lnTo>
                  <a:pt x="7032841" y="0"/>
                </a:lnTo>
                <a:lnTo>
                  <a:pt x="7032841" y="0"/>
                </a:lnTo>
                <a:cubicBezTo>
                  <a:pt x="7365834" y="0"/>
                  <a:pt x="7635709" y="269875"/>
                  <a:pt x="7635709" y="602869"/>
                </a:cubicBezTo>
                <a:cubicBezTo>
                  <a:pt x="7635709" y="602869"/>
                  <a:pt x="7635709" y="602869"/>
                  <a:pt x="7635709" y="602869"/>
                </a:cubicBezTo>
                <a:lnTo>
                  <a:pt x="7635709" y="602869"/>
                </a:lnTo>
                <a:lnTo>
                  <a:pt x="7635709" y="3014472"/>
                </a:lnTo>
                <a:lnTo>
                  <a:pt x="7635709" y="3014472"/>
                </a:lnTo>
                <a:cubicBezTo>
                  <a:pt x="7635709" y="3347338"/>
                  <a:pt x="7365834" y="3617341"/>
                  <a:pt x="7032841" y="3617341"/>
                </a:cubicBezTo>
                <a:cubicBezTo>
                  <a:pt x="7032841" y="3617341"/>
                  <a:pt x="7032841" y="3617341"/>
                  <a:pt x="7032841" y="3617341"/>
                </a:cubicBezTo>
                <a:lnTo>
                  <a:pt x="7032841" y="3617341"/>
                </a:lnTo>
                <a:lnTo>
                  <a:pt x="602957" y="3617341"/>
                </a:lnTo>
                <a:lnTo>
                  <a:pt x="602957" y="3617341"/>
                </a:lnTo>
                <a:cubicBezTo>
                  <a:pt x="269925" y="3617341"/>
                  <a:pt x="0" y="3347338"/>
                  <a:pt x="0" y="3014472"/>
                </a:cubicBezTo>
                <a:cubicBezTo>
                  <a:pt x="0" y="3014472"/>
                  <a:pt x="0" y="3014472"/>
                  <a:pt x="0" y="3014472"/>
                </a:cubicBezTo>
                <a:lnTo>
                  <a:pt x="0" y="602869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15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672148"/>
            <a:ext cx="7957435" cy="4610596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60070" algn="l"/>
                <a:tab pos="584962" algn="l"/>
                <a:tab pos="3061716" algn="l"/>
                <a:tab pos="3074162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1.Нормирова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:</a:t>
            </a:r>
          </a:p>
          <a:p>
            <a:pPr>
              <a:lnSpc>
                <a:spcPts val="2058"/>
              </a:lnSpc>
              <a:tabLst>
                <a:tab pos="560070" algn="l"/>
                <a:tab pos="584962" algn="l"/>
                <a:tab pos="3061716" algn="l"/>
                <a:tab pos="3074162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законодатель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сновы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960"/>
              </a:lnSpc>
              <a:tabLst>
                <a:tab pos="560070" algn="l"/>
                <a:tab pos="584962" algn="l"/>
                <a:tab pos="3061716" algn="l"/>
                <a:tab pos="3074162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лож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родн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хозяйстве</a:t>
            </a:r>
          </a:p>
          <a:p>
            <a:pPr>
              <a:lnSpc>
                <a:spcPts val="2058"/>
              </a:lnSpc>
              <a:tabLst>
                <a:tab pos="560070" algn="l"/>
                <a:tab pos="584962" algn="l"/>
                <a:tab pos="3061716" algn="l"/>
                <a:tab pos="3074162" algn="l"/>
              </a:tabLst>
            </a:pPr>
            <a:r>
              <a:rPr lang="en-US" altLang="zh-CN" dirty="0" smtClean="0"/>
              <a:t>		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9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юн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986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.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156"/>
              </a:lnSpc>
              <a:tabLst>
                <a:tab pos="560070" algn="l"/>
                <a:tab pos="584962" algn="l"/>
                <a:tab pos="3061716" algn="l"/>
                <a:tab pos="3074162" algn="l"/>
              </a:tabLst>
            </a:pPr>
            <a:r>
              <a:rPr lang="en-US" altLang="zh-CN" dirty="0" smtClean="0"/>
              <a:t>			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держание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352"/>
              </a:lnSpc>
              <a:tabLst>
                <a:tab pos="560070" algn="l"/>
                <a:tab pos="584962" algn="l"/>
                <a:tab pos="3061716" algn="l"/>
                <a:tab pos="3074162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.Методическ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2254"/>
              </a:lnSpc>
              <a:tabLst>
                <a:tab pos="560070" algn="l"/>
                <a:tab pos="584962" algn="l"/>
                <a:tab pos="3061716" algn="l"/>
                <a:tab pos="3074162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.Порядок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ия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ерк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мен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отр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</a:p>
          <a:p>
            <a:pPr>
              <a:lnSpc>
                <a:spcPts val="1862"/>
              </a:lnSpc>
              <a:tabLst>
                <a:tab pos="560070" algn="l"/>
                <a:tab pos="584962" algn="l"/>
                <a:tab pos="3061716" algn="l"/>
                <a:tab pos="3074162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2254"/>
              </a:lnSpc>
              <a:tabLst>
                <a:tab pos="560070" algn="l"/>
                <a:tab pos="584962" algn="l"/>
                <a:tab pos="3061716" algn="l"/>
                <a:tab pos="3074162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.Материально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имулирова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грессивным</a:t>
            </a:r>
          </a:p>
          <a:p>
            <a:pPr>
              <a:lnSpc>
                <a:spcPts val="1862"/>
              </a:lnSpc>
              <a:tabLst>
                <a:tab pos="560070" algn="l"/>
                <a:tab pos="584962" algn="l"/>
                <a:tab pos="3061716" algn="l"/>
                <a:tab pos="3074162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м</a:t>
            </a:r>
          </a:p>
          <a:p>
            <a:pPr>
              <a:lnSpc>
                <a:spcPts val="2254"/>
              </a:lnSpc>
              <a:tabLst>
                <a:tab pos="560070" algn="l"/>
                <a:tab pos="584962" algn="l"/>
                <a:tab pos="3061716" algn="l"/>
                <a:tab pos="3074162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4.Систем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нтрол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стояние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2254"/>
              </a:lnSpc>
              <a:tabLst>
                <a:tab pos="560070" algn="l"/>
                <a:tab pos="584962" algn="l"/>
                <a:tab pos="3061716" algn="l"/>
                <a:tab pos="3074162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5.Порядок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ланирования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инансир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1862"/>
              </a:lnSpc>
              <a:tabLst>
                <a:tab pos="560070" algn="l"/>
                <a:tab pos="584962" algn="l"/>
                <a:tab pos="3061716" algn="l"/>
                <a:tab pos="3074162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жотрасле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тивных</a:t>
            </a:r>
          </a:p>
          <a:p>
            <a:pPr>
              <a:lnSpc>
                <a:spcPts val="1862"/>
              </a:lnSpc>
              <a:tabLst>
                <a:tab pos="560070" algn="l"/>
                <a:tab pos="584962" algn="l"/>
                <a:tab pos="3061716" algn="l"/>
                <a:tab pos="3074162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атериало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</p:txBody>
      </p:sp>
    </p:spTree>
    <p:extLst>
      <p:ext uri="{BB962C8B-B14F-4D97-AF65-F5344CB8AC3E}">
        <p14:creationId xmlns:p14="http://schemas.microsoft.com/office/powerpoint/2010/main" val="3543491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98984" y="1103193"/>
            <a:ext cx="7763530" cy="4656736"/>
          </a:xfrm>
          <a:custGeom>
            <a:avLst/>
            <a:gdLst>
              <a:gd name="connsiteX0" fmla="*/ 0 w 7921688"/>
              <a:gd name="connsiteY0" fmla="*/ 791844 h 4751323"/>
              <a:gd name="connsiteX1" fmla="*/ 791908 w 7921688"/>
              <a:gd name="connsiteY1" fmla="*/ 0 h 4751323"/>
              <a:gd name="connsiteX2" fmla="*/ 791908 w 7921688"/>
              <a:gd name="connsiteY2" fmla="*/ 0 h 4751323"/>
              <a:gd name="connsiteX3" fmla="*/ 791908 w 7921688"/>
              <a:gd name="connsiteY3" fmla="*/ 0 h 4751323"/>
              <a:gd name="connsiteX4" fmla="*/ 7129716 w 7921688"/>
              <a:gd name="connsiteY4" fmla="*/ 0 h 4751323"/>
              <a:gd name="connsiteX5" fmla="*/ 7129716 w 7921688"/>
              <a:gd name="connsiteY5" fmla="*/ 0 h 4751323"/>
              <a:gd name="connsiteX6" fmla="*/ 7921561 w 7921688"/>
              <a:gd name="connsiteY6" fmla="*/ 791844 h 4751323"/>
              <a:gd name="connsiteX7" fmla="*/ 7921561 w 7921688"/>
              <a:gd name="connsiteY7" fmla="*/ 791844 h 4751323"/>
              <a:gd name="connsiteX8" fmla="*/ 7921561 w 7921688"/>
              <a:gd name="connsiteY8" fmla="*/ 791844 h 4751323"/>
              <a:gd name="connsiteX9" fmla="*/ 7921688 w 7921688"/>
              <a:gd name="connsiteY9" fmla="*/ 3959352 h 4751323"/>
              <a:gd name="connsiteX10" fmla="*/ 7921561 w 7921688"/>
              <a:gd name="connsiteY10" fmla="*/ 3959352 h 4751323"/>
              <a:gd name="connsiteX11" fmla="*/ 7129716 w 7921688"/>
              <a:gd name="connsiteY11" fmla="*/ 4751324 h 4751323"/>
              <a:gd name="connsiteX12" fmla="*/ 7129716 w 7921688"/>
              <a:gd name="connsiteY12" fmla="*/ 4751324 h 4751323"/>
              <a:gd name="connsiteX13" fmla="*/ 7129716 w 7921688"/>
              <a:gd name="connsiteY13" fmla="*/ 4751324 h 4751323"/>
              <a:gd name="connsiteX14" fmla="*/ 791908 w 7921688"/>
              <a:gd name="connsiteY14" fmla="*/ 4751324 h 4751323"/>
              <a:gd name="connsiteX15" fmla="*/ 791908 w 7921688"/>
              <a:gd name="connsiteY15" fmla="*/ 4751324 h 4751323"/>
              <a:gd name="connsiteX16" fmla="*/ 0 w 7921688"/>
              <a:gd name="connsiteY16" fmla="*/ 3959352 h 4751323"/>
              <a:gd name="connsiteX17" fmla="*/ 0 w 7921688"/>
              <a:gd name="connsiteY17" fmla="*/ 3959352 h 4751323"/>
              <a:gd name="connsiteX18" fmla="*/ 0 w 7921688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88" h="4751323">
                <a:moveTo>
                  <a:pt x="0" y="791844"/>
                </a:moveTo>
                <a:cubicBezTo>
                  <a:pt x="0" y="354457"/>
                  <a:pt x="354558" y="0"/>
                  <a:pt x="791908" y="0"/>
                </a:cubicBezTo>
                <a:cubicBezTo>
                  <a:pt x="791908" y="0"/>
                  <a:pt x="791908" y="0"/>
                  <a:pt x="791908" y="0"/>
                </a:cubicBezTo>
                <a:lnTo>
                  <a:pt x="791908" y="0"/>
                </a:lnTo>
                <a:lnTo>
                  <a:pt x="7129716" y="0"/>
                </a:lnTo>
                <a:lnTo>
                  <a:pt x="7129716" y="0"/>
                </a:lnTo>
                <a:cubicBezTo>
                  <a:pt x="7567104" y="0"/>
                  <a:pt x="7921561" y="354457"/>
                  <a:pt x="7921561" y="791844"/>
                </a:cubicBezTo>
                <a:cubicBezTo>
                  <a:pt x="7921561" y="791844"/>
                  <a:pt x="7921561" y="791844"/>
                  <a:pt x="7921561" y="791844"/>
                </a:cubicBezTo>
                <a:lnTo>
                  <a:pt x="7921561" y="791844"/>
                </a:lnTo>
                <a:lnTo>
                  <a:pt x="7921688" y="3959352"/>
                </a:lnTo>
                <a:lnTo>
                  <a:pt x="7921561" y="3959352"/>
                </a:lnTo>
                <a:cubicBezTo>
                  <a:pt x="7921561" y="4396739"/>
                  <a:pt x="7567104" y="4751324"/>
                  <a:pt x="7129716" y="4751324"/>
                </a:cubicBezTo>
                <a:cubicBezTo>
                  <a:pt x="7129716" y="4751324"/>
                  <a:pt x="7129716" y="4751324"/>
                  <a:pt x="7129716" y="4751324"/>
                </a:cubicBezTo>
                <a:lnTo>
                  <a:pt x="7129716" y="4751324"/>
                </a:lnTo>
                <a:lnTo>
                  <a:pt x="791908" y="4751324"/>
                </a:lnTo>
                <a:lnTo>
                  <a:pt x="791908" y="4751324"/>
                </a:lnTo>
                <a:cubicBezTo>
                  <a:pt x="354558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72513" y="1867449"/>
            <a:ext cx="7416373" cy="3599350"/>
          </a:xfrm>
          <a:custGeom>
            <a:avLst/>
            <a:gdLst>
              <a:gd name="connsiteX0" fmla="*/ 0 w 7567459"/>
              <a:gd name="connsiteY0" fmla="*/ 612013 h 3672459"/>
              <a:gd name="connsiteX1" fmla="*/ 612051 w 7567459"/>
              <a:gd name="connsiteY1" fmla="*/ 0 h 3672459"/>
              <a:gd name="connsiteX2" fmla="*/ 612051 w 7567459"/>
              <a:gd name="connsiteY2" fmla="*/ 0 h 3672459"/>
              <a:gd name="connsiteX3" fmla="*/ 612051 w 7567459"/>
              <a:gd name="connsiteY3" fmla="*/ 0 h 3672459"/>
              <a:gd name="connsiteX4" fmla="*/ 6955446 w 7567459"/>
              <a:gd name="connsiteY4" fmla="*/ 0 h 3672459"/>
              <a:gd name="connsiteX5" fmla="*/ 6955446 w 7567459"/>
              <a:gd name="connsiteY5" fmla="*/ 0 h 3672459"/>
              <a:gd name="connsiteX6" fmla="*/ 7567459 w 7567459"/>
              <a:gd name="connsiteY6" fmla="*/ 612013 h 3672459"/>
              <a:gd name="connsiteX7" fmla="*/ 7567459 w 7567459"/>
              <a:gd name="connsiteY7" fmla="*/ 612013 h 3672459"/>
              <a:gd name="connsiteX8" fmla="*/ 7567459 w 7567459"/>
              <a:gd name="connsiteY8" fmla="*/ 612013 h 3672459"/>
              <a:gd name="connsiteX9" fmla="*/ 7567459 w 7567459"/>
              <a:gd name="connsiteY9" fmla="*/ 3060446 h 3672459"/>
              <a:gd name="connsiteX10" fmla="*/ 7567459 w 7567459"/>
              <a:gd name="connsiteY10" fmla="*/ 3060446 h 3672459"/>
              <a:gd name="connsiteX11" fmla="*/ 6955446 w 7567459"/>
              <a:gd name="connsiteY11" fmla="*/ 3672459 h 3672459"/>
              <a:gd name="connsiteX12" fmla="*/ 6955446 w 7567459"/>
              <a:gd name="connsiteY12" fmla="*/ 3672459 h 3672459"/>
              <a:gd name="connsiteX13" fmla="*/ 6955446 w 7567459"/>
              <a:gd name="connsiteY13" fmla="*/ 3672459 h 3672459"/>
              <a:gd name="connsiteX14" fmla="*/ 612051 w 7567459"/>
              <a:gd name="connsiteY14" fmla="*/ 3672459 h 3672459"/>
              <a:gd name="connsiteX15" fmla="*/ 612051 w 7567459"/>
              <a:gd name="connsiteY15" fmla="*/ 3672459 h 3672459"/>
              <a:gd name="connsiteX16" fmla="*/ 0 w 7567459"/>
              <a:gd name="connsiteY16" fmla="*/ 3060446 h 3672459"/>
              <a:gd name="connsiteX17" fmla="*/ 0 w 7567459"/>
              <a:gd name="connsiteY17" fmla="*/ 3060446 h 3672459"/>
              <a:gd name="connsiteX18" fmla="*/ 0 w 7567459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459" h="3672459">
                <a:moveTo>
                  <a:pt x="0" y="612013"/>
                </a:moveTo>
                <a:cubicBezTo>
                  <a:pt x="0" y="273939"/>
                  <a:pt x="274053" y="0"/>
                  <a:pt x="612051" y="0"/>
                </a:cubicBezTo>
                <a:cubicBezTo>
                  <a:pt x="612051" y="0"/>
                  <a:pt x="612051" y="0"/>
                  <a:pt x="612051" y="0"/>
                </a:cubicBezTo>
                <a:lnTo>
                  <a:pt x="612051" y="0"/>
                </a:lnTo>
                <a:lnTo>
                  <a:pt x="6955446" y="0"/>
                </a:lnTo>
                <a:lnTo>
                  <a:pt x="6955446" y="0"/>
                </a:lnTo>
                <a:cubicBezTo>
                  <a:pt x="7293393" y="0"/>
                  <a:pt x="7567459" y="273939"/>
                  <a:pt x="7567459" y="612013"/>
                </a:cubicBezTo>
                <a:cubicBezTo>
                  <a:pt x="7567459" y="612013"/>
                  <a:pt x="7567459" y="612013"/>
                  <a:pt x="7567459" y="612013"/>
                </a:cubicBezTo>
                <a:lnTo>
                  <a:pt x="7567459" y="612013"/>
                </a:lnTo>
                <a:lnTo>
                  <a:pt x="7567459" y="3060446"/>
                </a:lnTo>
                <a:lnTo>
                  <a:pt x="7567459" y="3060446"/>
                </a:lnTo>
                <a:cubicBezTo>
                  <a:pt x="7567459" y="3398520"/>
                  <a:pt x="7293393" y="3672459"/>
                  <a:pt x="6955446" y="3672459"/>
                </a:cubicBezTo>
                <a:cubicBezTo>
                  <a:pt x="6955446" y="3672459"/>
                  <a:pt x="6955446" y="3672459"/>
                  <a:pt x="6955446" y="3672459"/>
                </a:cubicBezTo>
                <a:lnTo>
                  <a:pt x="6955446" y="3672459"/>
                </a:lnTo>
                <a:lnTo>
                  <a:pt x="612051" y="3672459"/>
                </a:lnTo>
                <a:lnTo>
                  <a:pt x="612051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16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5" y="672147"/>
            <a:ext cx="6531083" cy="4674716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1443736" algn="l"/>
                <a:tab pos="2887472" algn="l"/>
                <a:tab pos="3074162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1.Нормирова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:</a:t>
            </a:r>
          </a:p>
          <a:p>
            <a:pPr>
              <a:lnSpc>
                <a:spcPts val="2058"/>
              </a:lnSpc>
              <a:tabLst>
                <a:tab pos="584962" algn="l"/>
                <a:tab pos="1443736" algn="l"/>
                <a:tab pos="2887472" algn="l"/>
                <a:tab pos="3074162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законодатель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сновы</a:t>
            </a:r>
          </a:p>
          <a:p>
            <a:pPr>
              <a:lnSpc>
                <a:spcPts val="2842"/>
              </a:lnSpc>
              <a:tabLst>
                <a:tab pos="584962" algn="l"/>
                <a:tab pos="1443736" algn="l"/>
                <a:tab pos="2887472" algn="l"/>
                <a:tab pos="3074162" algn="l"/>
              </a:tabLst>
            </a:pPr>
            <a:r>
              <a:rPr lang="en-US" altLang="zh-CN" dirty="0" smtClean="0"/>
              <a:t>	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лож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2058"/>
              </a:lnSpc>
              <a:tabLst>
                <a:tab pos="584962" algn="l"/>
                <a:tab pos="1443736" algn="l"/>
                <a:tab pos="2887472" algn="l"/>
                <a:tab pos="3074162" algn="l"/>
              </a:tabLst>
            </a:pPr>
            <a:r>
              <a:rPr lang="en-US" altLang="zh-CN" dirty="0" smtClean="0"/>
              <a:t>		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999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проект)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646"/>
              </a:lnSpc>
              <a:tabLst>
                <a:tab pos="584962" algn="l"/>
                <a:tab pos="1443736" algn="l"/>
                <a:tab pos="2887472" algn="l"/>
                <a:tab pos="3074162" algn="l"/>
              </a:tabLst>
            </a:pPr>
            <a:r>
              <a:rPr lang="en-US" altLang="zh-CN" dirty="0" smtClean="0"/>
              <a:t>			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держание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352"/>
              </a:lnSpc>
              <a:tabLst>
                <a:tab pos="584962" algn="l"/>
                <a:tab pos="1443736" algn="l"/>
                <a:tab pos="2887472" algn="l"/>
                <a:tab pos="3074162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.Нормативн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атериалы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меняем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</a:p>
          <a:p>
            <a:pPr>
              <a:lnSpc>
                <a:spcPts val="1862"/>
              </a:lnSpc>
              <a:tabLst>
                <a:tab pos="584962" algn="l"/>
                <a:tab pos="1443736" algn="l"/>
                <a:tab pos="2887472" algn="l"/>
                <a:tab pos="3074162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2254"/>
              </a:lnSpc>
              <a:tabLst>
                <a:tab pos="584962" algn="l"/>
                <a:tab pos="1443736" algn="l"/>
                <a:tab pos="2887472" algn="l"/>
                <a:tab pos="3074162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.Организац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ю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2254"/>
              </a:lnSpc>
              <a:tabLst>
                <a:tab pos="584962" algn="l"/>
                <a:tab pos="1443736" algn="l"/>
                <a:tab pos="2887472" algn="l"/>
                <a:tab pos="3074162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.Порядок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ия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ерк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мен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отр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</a:p>
          <a:p>
            <a:pPr>
              <a:lnSpc>
                <a:spcPts val="1862"/>
              </a:lnSpc>
              <a:tabLst>
                <a:tab pos="584962" algn="l"/>
                <a:tab pos="1443736" algn="l"/>
                <a:tab pos="2887472" algn="l"/>
                <a:tab pos="3074162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2254"/>
              </a:lnSpc>
              <a:tabLst>
                <a:tab pos="584962" algn="l"/>
                <a:tab pos="1443736" algn="l"/>
                <a:tab pos="2887472" algn="l"/>
                <a:tab pos="3074162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4.Анализ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стоя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2254"/>
              </a:lnSpc>
              <a:tabLst>
                <a:tab pos="584962" algn="l"/>
                <a:tab pos="1443736" algn="l"/>
                <a:tab pos="2887472" algn="l"/>
                <a:tab pos="3074162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5.Вопрос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глашения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1862"/>
              </a:lnSpc>
              <a:tabLst>
                <a:tab pos="584962" algn="l"/>
                <a:tab pos="1443736" algn="l"/>
                <a:tab pos="2887472" algn="l"/>
                <a:tab pos="3074162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ллектив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говорах</a:t>
            </a:r>
          </a:p>
          <a:p>
            <a:pPr>
              <a:lnSpc>
                <a:spcPts val="2254"/>
              </a:lnSpc>
              <a:tabLst>
                <a:tab pos="584962" algn="l"/>
                <a:tab pos="1443736" algn="l"/>
                <a:tab pos="2887472" algn="l"/>
                <a:tab pos="3074162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6.Порядок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жотрасле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1862"/>
              </a:lnSpc>
              <a:tabLst>
                <a:tab pos="584962" algn="l"/>
                <a:tab pos="1443736" algn="l"/>
                <a:tab pos="2887472" algn="l"/>
                <a:tab pos="3074162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</p:txBody>
      </p:sp>
    </p:spTree>
    <p:extLst>
      <p:ext uri="{BB962C8B-B14F-4D97-AF65-F5344CB8AC3E}">
        <p14:creationId xmlns:p14="http://schemas.microsoft.com/office/powerpoint/2010/main" val="1101909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98985" y="1173146"/>
            <a:ext cx="7903552" cy="4586784"/>
          </a:xfrm>
          <a:custGeom>
            <a:avLst/>
            <a:gdLst>
              <a:gd name="connsiteX0" fmla="*/ 0 w 8064563"/>
              <a:gd name="connsiteY0" fmla="*/ 780033 h 4679950"/>
              <a:gd name="connsiteX1" fmla="*/ 779970 w 8064563"/>
              <a:gd name="connsiteY1" fmla="*/ 0 h 4679950"/>
              <a:gd name="connsiteX2" fmla="*/ 779970 w 8064563"/>
              <a:gd name="connsiteY2" fmla="*/ 0 h 4679950"/>
              <a:gd name="connsiteX3" fmla="*/ 779970 w 8064563"/>
              <a:gd name="connsiteY3" fmla="*/ 0 h 4679950"/>
              <a:gd name="connsiteX4" fmla="*/ 7284529 w 8064563"/>
              <a:gd name="connsiteY4" fmla="*/ 0 h 4679950"/>
              <a:gd name="connsiteX5" fmla="*/ 7284529 w 8064563"/>
              <a:gd name="connsiteY5" fmla="*/ 0 h 4679950"/>
              <a:gd name="connsiteX6" fmla="*/ 8064436 w 8064563"/>
              <a:gd name="connsiteY6" fmla="*/ 780033 h 4679950"/>
              <a:gd name="connsiteX7" fmla="*/ 8064436 w 8064563"/>
              <a:gd name="connsiteY7" fmla="*/ 780033 h 4679950"/>
              <a:gd name="connsiteX8" fmla="*/ 8064436 w 8064563"/>
              <a:gd name="connsiteY8" fmla="*/ 780033 h 4679950"/>
              <a:gd name="connsiteX9" fmla="*/ 8064563 w 8064563"/>
              <a:gd name="connsiteY9" fmla="*/ 3899915 h 4679950"/>
              <a:gd name="connsiteX10" fmla="*/ 8064563 w 8064563"/>
              <a:gd name="connsiteY10" fmla="*/ 3899915 h 4679950"/>
              <a:gd name="connsiteX11" fmla="*/ 7284529 w 8064563"/>
              <a:gd name="connsiteY11" fmla="*/ 4679950 h 4679950"/>
              <a:gd name="connsiteX12" fmla="*/ 7284529 w 8064563"/>
              <a:gd name="connsiteY12" fmla="*/ 4679950 h 4679950"/>
              <a:gd name="connsiteX13" fmla="*/ 7284529 w 8064563"/>
              <a:gd name="connsiteY13" fmla="*/ 4679950 h 4679950"/>
              <a:gd name="connsiteX14" fmla="*/ 779970 w 8064563"/>
              <a:gd name="connsiteY14" fmla="*/ 4679950 h 4679950"/>
              <a:gd name="connsiteX15" fmla="*/ 779970 w 8064563"/>
              <a:gd name="connsiteY15" fmla="*/ 4679950 h 4679950"/>
              <a:gd name="connsiteX16" fmla="*/ 0 w 8064563"/>
              <a:gd name="connsiteY16" fmla="*/ 3899915 h 4679950"/>
              <a:gd name="connsiteX17" fmla="*/ 0 w 8064563"/>
              <a:gd name="connsiteY17" fmla="*/ 3899915 h 4679950"/>
              <a:gd name="connsiteX18" fmla="*/ 0 w 8064563"/>
              <a:gd name="connsiteY18" fmla="*/ 780033 h 467995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8064563" h="4679950">
                <a:moveTo>
                  <a:pt x="0" y="780033"/>
                </a:moveTo>
                <a:cubicBezTo>
                  <a:pt x="0" y="349250"/>
                  <a:pt x="349224" y="0"/>
                  <a:pt x="779970" y="0"/>
                </a:cubicBezTo>
                <a:cubicBezTo>
                  <a:pt x="779970" y="0"/>
                  <a:pt x="779970" y="0"/>
                  <a:pt x="779970" y="0"/>
                </a:cubicBezTo>
                <a:lnTo>
                  <a:pt x="779970" y="0"/>
                </a:lnTo>
                <a:lnTo>
                  <a:pt x="7284529" y="0"/>
                </a:lnTo>
                <a:lnTo>
                  <a:pt x="7284529" y="0"/>
                </a:lnTo>
                <a:cubicBezTo>
                  <a:pt x="7715313" y="0"/>
                  <a:pt x="8064436" y="349250"/>
                  <a:pt x="8064436" y="780033"/>
                </a:cubicBezTo>
                <a:cubicBezTo>
                  <a:pt x="8064436" y="780033"/>
                  <a:pt x="8064436" y="780033"/>
                  <a:pt x="8064436" y="780033"/>
                </a:cubicBezTo>
                <a:lnTo>
                  <a:pt x="8064436" y="780033"/>
                </a:lnTo>
                <a:lnTo>
                  <a:pt x="8064563" y="3899915"/>
                </a:lnTo>
                <a:lnTo>
                  <a:pt x="8064563" y="3899915"/>
                </a:lnTo>
                <a:cubicBezTo>
                  <a:pt x="8064563" y="4330700"/>
                  <a:pt x="7715313" y="4679950"/>
                  <a:pt x="7284529" y="4679950"/>
                </a:cubicBezTo>
                <a:cubicBezTo>
                  <a:pt x="7284529" y="4679950"/>
                  <a:pt x="7284529" y="4679950"/>
                  <a:pt x="7284529" y="4679950"/>
                </a:cubicBezTo>
                <a:lnTo>
                  <a:pt x="7284529" y="4679950"/>
                </a:lnTo>
                <a:lnTo>
                  <a:pt x="779970" y="4679950"/>
                </a:lnTo>
                <a:lnTo>
                  <a:pt x="779970" y="4679950"/>
                </a:lnTo>
                <a:cubicBezTo>
                  <a:pt x="349224" y="4679950"/>
                  <a:pt x="0" y="4330700"/>
                  <a:pt x="0" y="3899915"/>
                </a:cubicBezTo>
                <a:cubicBezTo>
                  <a:pt x="0" y="3899915"/>
                  <a:pt x="0" y="3899915"/>
                  <a:pt x="0" y="3899915"/>
                </a:cubicBezTo>
                <a:lnTo>
                  <a:pt x="0" y="780033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75649" y="1925951"/>
            <a:ext cx="7550149" cy="3545329"/>
          </a:xfrm>
          <a:custGeom>
            <a:avLst/>
            <a:gdLst>
              <a:gd name="connsiteX0" fmla="*/ 0 w 7703960"/>
              <a:gd name="connsiteY0" fmla="*/ 602869 h 3617341"/>
              <a:gd name="connsiteX1" fmla="*/ 602881 w 7703960"/>
              <a:gd name="connsiteY1" fmla="*/ 0 h 3617341"/>
              <a:gd name="connsiteX2" fmla="*/ 602881 w 7703960"/>
              <a:gd name="connsiteY2" fmla="*/ 0 h 3617341"/>
              <a:gd name="connsiteX3" fmla="*/ 602881 w 7703960"/>
              <a:gd name="connsiteY3" fmla="*/ 0 h 3617341"/>
              <a:gd name="connsiteX4" fmla="*/ 7101090 w 7703960"/>
              <a:gd name="connsiteY4" fmla="*/ 0 h 3617341"/>
              <a:gd name="connsiteX5" fmla="*/ 7101090 w 7703960"/>
              <a:gd name="connsiteY5" fmla="*/ 0 h 3617341"/>
              <a:gd name="connsiteX6" fmla="*/ 7703959 w 7703960"/>
              <a:gd name="connsiteY6" fmla="*/ 602869 h 3617341"/>
              <a:gd name="connsiteX7" fmla="*/ 7703959 w 7703960"/>
              <a:gd name="connsiteY7" fmla="*/ 602869 h 3617341"/>
              <a:gd name="connsiteX8" fmla="*/ 7703959 w 7703960"/>
              <a:gd name="connsiteY8" fmla="*/ 602869 h 3617341"/>
              <a:gd name="connsiteX9" fmla="*/ 7703959 w 7703960"/>
              <a:gd name="connsiteY9" fmla="*/ 3014472 h 3617341"/>
              <a:gd name="connsiteX10" fmla="*/ 7703959 w 7703960"/>
              <a:gd name="connsiteY10" fmla="*/ 3014472 h 3617341"/>
              <a:gd name="connsiteX11" fmla="*/ 7101090 w 7703960"/>
              <a:gd name="connsiteY11" fmla="*/ 3617341 h 3617341"/>
              <a:gd name="connsiteX12" fmla="*/ 7101090 w 7703960"/>
              <a:gd name="connsiteY12" fmla="*/ 3617341 h 3617341"/>
              <a:gd name="connsiteX13" fmla="*/ 7101090 w 7703960"/>
              <a:gd name="connsiteY13" fmla="*/ 3617341 h 3617341"/>
              <a:gd name="connsiteX14" fmla="*/ 602881 w 7703960"/>
              <a:gd name="connsiteY14" fmla="*/ 3617341 h 3617341"/>
              <a:gd name="connsiteX15" fmla="*/ 602881 w 7703960"/>
              <a:gd name="connsiteY15" fmla="*/ 3617341 h 3617341"/>
              <a:gd name="connsiteX16" fmla="*/ 0 w 7703960"/>
              <a:gd name="connsiteY16" fmla="*/ 3014472 h 3617341"/>
              <a:gd name="connsiteX17" fmla="*/ 0 w 7703960"/>
              <a:gd name="connsiteY17" fmla="*/ 3014472 h 3617341"/>
              <a:gd name="connsiteX18" fmla="*/ 0 w 7703960"/>
              <a:gd name="connsiteY18" fmla="*/ 602869 h 361734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703960" h="3617341">
                <a:moveTo>
                  <a:pt x="0" y="602869"/>
                </a:moveTo>
                <a:cubicBezTo>
                  <a:pt x="0" y="269875"/>
                  <a:pt x="269925" y="0"/>
                  <a:pt x="602881" y="0"/>
                </a:cubicBezTo>
                <a:cubicBezTo>
                  <a:pt x="602881" y="0"/>
                  <a:pt x="602881" y="0"/>
                  <a:pt x="602881" y="0"/>
                </a:cubicBezTo>
                <a:lnTo>
                  <a:pt x="602881" y="0"/>
                </a:lnTo>
                <a:lnTo>
                  <a:pt x="7101090" y="0"/>
                </a:lnTo>
                <a:lnTo>
                  <a:pt x="7101090" y="0"/>
                </a:lnTo>
                <a:cubicBezTo>
                  <a:pt x="7434084" y="0"/>
                  <a:pt x="7703959" y="269875"/>
                  <a:pt x="7703959" y="602869"/>
                </a:cubicBezTo>
                <a:cubicBezTo>
                  <a:pt x="7703959" y="602869"/>
                  <a:pt x="7703959" y="602869"/>
                  <a:pt x="7703959" y="602869"/>
                </a:cubicBezTo>
                <a:lnTo>
                  <a:pt x="7703959" y="602869"/>
                </a:lnTo>
                <a:lnTo>
                  <a:pt x="7703959" y="3014472"/>
                </a:lnTo>
                <a:lnTo>
                  <a:pt x="7703959" y="3014472"/>
                </a:lnTo>
                <a:cubicBezTo>
                  <a:pt x="7703959" y="3347338"/>
                  <a:pt x="7434084" y="3617341"/>
                  <a:pt x="7101090" y="3617341"/>
                </a:cubicBezTo>
                <a:cubicBezTo>
                  <a:pt x="7101090" y="3617341"/>
                  <a:pt x="7101090" y="3617341"/>
                  <a:pt x="7101090" y="3617341"/>
                </a:cubicBezTo>
                <a:lnTo>
                  <a:pt x="7101090" y="3617341"/>
                </a:lnTo>
                <a:lnTo>
                  <a:pt x="602881" y="3617341"/>
                </a:lnTo>
                <a:lnTo>
                  <a:pt x="602881" y="3617341"/>
                </a:lnTo>
                <a:cubicBezTo>
                  <a:pt x="269925" y="3617341"/>
                  <a:pt x="0" y="3347338"/>
                  <a:pt x="0" y="3014472"/>
                </a:cubicBezTo>
                <a:cubicBezTo>
                  <a:pt x="0" y="3014472"/>
                  <a:pt x="0" y="3014472"/>
                  <a:pt x="0" y="3014472"/>
                </a:cubicBezTo>
                <a:lnTo>
                  <a:pt x="0" y="602869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17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647254"/>
            <a:ext cx="7939546" cy="3597498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472948" algn="l"/>
                <a:tab pos="584962" algn="l"/>
                <a:tab pos="3235960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1.Нормирова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 err="1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r>
              <a:rPr lang="ru-RU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 err="1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законодатель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сновы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548"/>
              </a:lnSpc>
              <a:tabLst>
                <a:tab pos="472948" algn="l"/>
                <a:tab pos="584962" algn="l"/>
                <a:tab pos="3235960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лож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я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кономики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744"/>
              </a:lnSpc>
              <a:tabLst>
                <a:tab pos="472948" algn="l"/>
                <a:tab pos="584962" algn="l"/>
                <a:tab pos="3235960" algn="l"/>
              </a:tabLst>
            </a:pPr>
            <a:r>
              <a:rPr lang="en-US" altLang="zh-CN" dirty="0" smtClean="0"/>
              <a:t>		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держание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352"/>
              </a:lnSpc>
              <a:tabLst>
                <a:tab pos="472948" algn="l"/>
                <a:tab pos="584962" algn="l"/>
                <a:tab pos="3235960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.Методическ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2254"/>
              </a:lnSpc>
              <a:tabLst>
                <a:tab pos="472948" algn="l"/>
                <a:tab pos="584962" algn="l"/>
                <a:tab pos="3235960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.Порядок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ия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ерк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мен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отр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2254"/>
              </a:lnSpc>
              <a:tabLst>
                <a:tab pos="472948" algn="l"/>
                <a:tab pos="584962" algn="l"/>
                <a:tab pos="3235960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.Анализ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стоя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2254"/>
              </a:lnSpc>
              <a:tabLst>
                <a:tab pos="472948" algn="l"/>
                <a:tab pos="584962" algn="l"/>
                <a:tab pos="3235960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4.Систем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нтрол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стояние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2254"/>
              </a:lnSpc>
              <a:tabLst>
                <a:tab pos="472948" algn="l"/>
                <a:tab pos="584962" algn="l"/>
                <a:tab pos="3235960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5.Порядок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жотрасле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</a:p>
          <a:p>
            <a:pPr>
              <a:lnSpc>
                <a:spcPts val="1862"/>
              </a:lnSpc>
              <a:tabLst>
                <a:tab pos="472948" algn="l"/>
                <a:tab pos="584962" algn="l"/>
                <a:tab pos="3235960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тив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атериало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</p:txBody>
      </p:sp>
    </p:spTree>
    <p:extLst>
      <p:ext uri="{BB962C8B-B14F-4D97-AF65-F5344CB8AC3E}">
        <p14:creationId xmlns:p14="http://schemas.microsoft.com/office/powerpoint/2010/main" val="2443008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882141" y="1173146"/>
            <a:ext cx="4658081" cy="634806"/>
          </a:xfrm>
          <a:custGeom>
            <a:avLst/>
            <a:gdLst>
              <a:gd name="connsiteX0" fmla="*/ 0 w 4752975"/>
              <a:gd name="connsiteY0" fmla="*/ 647700 h 647700"/>
              <a:gd name="connsiteX1" fmla="*/ 4752975 w 4752975"/>
              <a:gd name="connsiteY1" fmla="*/ 647700 h 647700"/>
              <a:gd name="connsiteX2" fmla="*/ 4752975 w 4752975"/>
              <a:gd name="connsiteY2" fmla="*/ 0 h 647700"/>
              <a:gd name="connsiteX3" fmla="*/ 0 w 4752975"/>
              <a:gd name="connsiteY3" fmla="*/ 0 h 647700"/>
              <a:gd name="connsiteX4" fmla="*/ 0 w 4752975"/>
              <a:gd name="connsiteY4" fmla="*/ 647700 h 6477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4752975" h="647700">
                <a:moveTo>
                  <a:pt x="0" y="647700"/>
                </a:moveTo>
                <a:lnTo>
                  <a:pt x="4752975" y="647700"/>
                </a:lnTo>
                <a:lnTo>
                  <a:pt x="4752975" y="0"/>
                </a:lnTo>
                <a:lnTo>
                  <a:pt x="0" y="0"/>
                </a:lnTo>
                <a:lnTo>
                  <a:pt x="0" y="647700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875918" y="1166923"/>
            <a:ext cx="4670527" cy="647253"/>
          </a:xfrm>
          <a:custGeom>
            <a:avLst/>
            <a:gdLst>
              <a:gd name="connsiteX0" fmla="*/ 6350 w 4765675"/>
              <a:gd name="connsiteY0" fmla="*/ 654050 h 660400"/>
              <a:gd name="connsiteX1" fmla="*/ 4759325 w 4765675"/>
              <a:gd name="connsiteY1" fmla="*/ 654050 h 660400"/>
              <a:gd name="connsiteX2" fmla="*/ 4759325 w 4765675"/>
              <a:gd name="connsiteY2" fmla="*/ 6350 h 660400"/>
              <a:gd name="connsiteX3" fmla="*/ 6350 w 4765675"/>
              <a:gd name="connsiteY3" fmla="*/ 6350 h 660400"/>
              <a:gd name="connsiteX4" fmla="*/ 6350 w 4765675"/>
              <a:gd name="connsiteY4" fmla="*/ 654050 h 6604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4765675" h="660400">
                <a:moveTo>
                  <a:pt x="6350" y="654050"/>
                </a:moveTo>
                <a:lnTo>
                  <a:pt x="4759325" y="654050"/>
                </a:lnTo>
                <a:lnTo>
                  <a:pt x="4759325" y="6350"/>
                </a:lnTo>
                <a:lnTo>
                  <a:pt x="6350" y="6350"/>
                </a:lnTo>
                <a:lnTo>
                  <a:pt x="6350" y="6540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323937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7" name="Freeform 3"/>
          <p:cNvSpPr/>
          <p:nvPr/>
        </p:nvSpPr>
        <p:spPr>
          <a:xfrm>
            <a:off x="3351205" y="2725932"/>
            <a:ext cx="4869670" cy="846408"/>
          </a:xfrm>
          <a:custGeom>
            <a:avLst/>
            <a:gdLst>
              <a:gd name="connsiteX0" fmla="*/ 0 w 4968875"/>
              <a:gd name="connsiteY0" fmla="*/ 143891 h 863600"/>
              <a:gd name="connsiteX1" fmla="*/ 143890 w 4968875"/>
              <a:gd name="connsiteY1" fmla="*/ 0 h 863600"/>
              <a:gd name="connsiteX2" fmla="*/ 143890 w 4968875"/>
              <a:gd name="connsiteY2" fmla="*/ 0 h 863600"/>
              <a:gd name="connsiteX3" fmla="*/ 143890 w 4968875"/>
              <a:gd name="connsiteY3" fmla="*/ 0 h 863600"/>
              <a:gd name="connsiteX4" fmla="*/ 4824983 w 4968875"/>
              <a:gd name="connsiteY4" fmla="*/ 0 h 863600"/>
              <a:gd name="connsiteX5" fmla="*/ 4824983 w 4968875"/>
              <a:gd name="connsiteY5" fmla="*/ 0 h 863600"/>
              <a:gd name="connsiteX6" fmla="*/ 4968875 w 4968875"/>
              <a:gd name="connsiteY6" fmla="*/ 143891 h 863600"/>
              <a:gd name="connsiteX7" fmla="*/ 4968875 w 4968875"/>
              <a:gd name="connsiteY7" fmla="*/ 143891 h 863600"/>
              <a:gd name="connsiteX8" fmla="*/ 4968875 w 4968875"/>
              <a:gd name="connsiteY8" fmla="*/ 143891 h 863600"/>
              <a:gd name="connsiteX9" fmla="*/ 4968875 w 4968875"/>
              <a:gd name="connsiteY9" fmla="*/ 719709 h 863600"/>
              <a:gd name="connsiteX10" fmla="*/ 4968875 w 4968875"/>
              <a:gd name="connsiteY10" fmla="*/ 719709 h 863600"/>
              <a:gd name="connsiteX11" fmla="*/ 4824983 w 4968875"/>
              <a:gd name="connsiteY11" fmla="*/ 863600 h 863600"/>
              <a:gd name="connsiteX12" fmla="*/ 4824983 w 4968875"/>
              <a:gd name="connsiteY12" fmla="*/ 863600 h 863600"/>
              <a:gd name="connsiteX13" fmla="*/ 4824983 w 4968875"/>
              <a:gd name="connsiteY13" fmla="*/ 863600 h 863600"/>
              <a:gd name="connsiteX14" fmla="*/ 143890 w 4968875"/>
              <a:gd name="connsiteY14" fmla="*/ 863600 h 863600"/>
              <a:gd name="connsiteX15" fmla="*/ 143890 w 4968875"/>
              <a:gd name="connsiteY15" fmla="*/ 863600 h 863600"/>
              <a:gd name="connsiteX16" fmla="*/ 0 w 4968875"/>
              <a:gd name="connsiteY16" fmla="*/ 719709 h 863600"/>
              <a:gd name="connsiteX17" fmla="*/ 0 w 4968875"/>
              <a:gd name="connsiteY17" fmla="*/ 719709 h 863600"/>
              <a:gd name="connsiteX18" fmla="*/ 0 w 4968875"/>
              <a:gd name="connsiteY18" fmla="*/ 143891 h 8636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4968875" h="863600">
                <a:moveTo>
                  <a:pt x="0" y="143891"/>
                </a:moveTo>
                <a:cubicBezTo>
                  <a:pt x="0" y="64389"/>
                  <a:pt x="64389" y="0"/>
                  <a:pt x="143890" y="0"/>
                </a:cubicBezTo>
                <a:cubicBezTo>
                  <a:pt x="143890" y="0"/>
                  <a:pt x="143890" y="0"/>
                  <a:pt x="143890" y="0"/>
                </a:cubicBezTo>
                <a:lnTo>
                  <a:pt x="143890" y="0"/>
                </a:lnTo>
                <a:lnTo>
                  <a:pt x="4824983" y="0"/>
                </a:lnTo>
                <a:lnTo>
                  <a:pt x="4824983" y="0"/>
                </a:lnTo>
                <a:cubicBezTo>
                  <a:pt x="4904485" y="0"/>
                  <a:pt x="4968875" y="64389"/>
                  <a:pt x="4968875" y="143891"/>
                </a:cubicBezTo>
                <a:cubicBezTo>
                  <a:pt x="4968875" y="143891"/>
                  <a:pt x="4968875" y="143891"/>
                  <a:pt x="4968875" y="143891"/>
                </a:cubicBezTo>
                <a:lnTo>
                  <a:pt x="4968875" y="143891"/>
                </a:lnTo>
                <a:lnTo>
                  <a:pt x="4968875" y="719709"/>
                </a:lnTo>
                <a:lnTo>
                  <a:pt x="4968875" y="719709"/>
                </a:lnTo>
                <a:cubicBezTo>
                  <a:pt x="4968875" y="799210"/>
                  <a:pt x="4904485" y="863600"/>
                  <a:pt x="4824983" y="863600"/>
                </a:cubicBezTo>
                <a:cubicBezTo>
                  <a:pt x="4824983" y="863600"/>
                  <a:pt x="4824983" y="863600"/>
                  <a:pt x="4824983" y="863600"/>
                </a:cubicBezTo>
                <a:lnTo>
                  <a:pt x="4824983" y="863600"/>
                </a:lnTo>
                <a:lnTo>
                  <a:pt x="143890" y="863600"/>
                </a:lnTo>
                <a:lnTo>
                  <a:pt x="143890" y="863600"/>
                </a:lnTo>
                <a:cubicBezTo>
                  <a:pt x="64389" y="863600"/>
                  <a:pt x="0" y="799210"/>
                  <a:pt x="0" y="719709"/>
                </a:cubicBezTo>
                <a:cubicBezTo>
                  <a:pt x="0" y="719709"/>
                  <a:pt x="0" y="719709"/>
                  <a:pt x="0" y="719709"/>
                </a:cubicBezTo>
                <a:lnTo>
                  <a:pt x="0" y="143891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8" name="Freeform 3"/>
          <p:cNvSpPr/>
          <p:nvPr/>
        </p:nvSpPr>
        <p:spPr>
          <a:xfrm>
            <a:off x="3460111" y="2864842"/>
            <a:ext cx="4651858" cy="654223"/>
          </a:xfrm>
          <a:custGeom>
            <a:avLst/>
            <a:gdLst>
              <a:gd name="connsiteX0" fmla="*/ 0 w 4746625"/>
              <a:gd name="connsiteY0" fmla="*/ 111251 h 667511"/>
              <a:gd name="connsiteX1" fmla="*/ 111252 w 4746625"/>
              <a:gd name="connsiteY1" fmla="*/ 0 h 667511"/>
              <a:gd name="connsiteX2" fmla="*/ 111252 w 4746625"/>
              <a:gd name="connsiteY2" fmla="*/ 0 h 667511"/>
              <a:gd name="connsiteX3" fmla="*/ 111252 w 4746625"/>
              <a:gd name="connsiteY3" fmla="*/ 0 h 667511"/>
              <a:gd name="connsiteX4" fmla="*/ 4635372 w 4746625"/>
              <a:gd name="connsiteY4" fmla="*/ 0 h 667511"/>
              <a:gd name="connsiteX5" fmla="*/ 4635372 w 4746625"/>
              <a:gd name="connsiteY5" fmla="*/ 0 h 667511"/>
              <a:gd name="connsiteX6" fmla="*/ 4746625 w 4746625"/>
              <a:gd name="connsiteY6" fmla="*/ 111251 h 667511"/>
              <a:gd name="connsiteX7" fmla="*/ 4746625 w 4746625"/>
              <a:gd name="connsiteY7" fmla="*/ 111251 h 667511"/>
              <a:gd name="connsiteX8" fmla="*/ 4746625 w 4746625"/>
              <a:gd name="connsiteY8" fmla="*/ 111251 h 667511"/>
              <a:gd name="connsiteX9" fmla="*/ 4746625 w 4746625"/>
              <a:gd name="connsiteY9" fmla="*/ 556259 h 667511"/>
              <a:gd name="connsiteX10" fmla="*/ 4746625 w 4746625"/>
              <a:gd name="connsiteY10" fmla="*/ 556259 h 667511"/>
              <a:gd name="connsiteX11" fmla="*/ 4635372 w 4746625"/>
              <a:gd name="connsiteY11" fmla="*/ 667511 h 667511"/>
              <a:gd name="connsiteX12" fmla="*/ 4635372 w 4746625"/>
              <a:gd name="connsiteY12" fmla="*/ 667511 h 667511"/>
              <a:gd name="connsiteX13" fmla="*/ 4635372 w 4746625"/>
              <a:gd name="connsiteY13" fmla="*/ 667511 h 667511"/>
              <a:gd name="connsiteX14" fmla="*/ 111252 w 4746625"/>
              <a:gd name="connsiteY14" fmla="*/ 667511 h 667511"/>
              <a:gd name="connsiteX15" fmla="*/ 111252 w 4746625"/>
              <a:gd name="connsiteY15" fmla="*/ 667511 h 667511"/>
              <a:gd name="connsiteX16" fmla="*/ 0 w 4746625"/>
              <a:gd name="connsiteY16" fmla="*/ 556259 h 667511"/>
              <a:gd name="connsiteX17" fmla="*/ 0 w 4746625"/>
              <a:gd name="connsiteY17" fmla="*/ 556259 h 667511"/>
              <a:gd name="connsiteX18" fmla="*/ 0 w 4746625"/>
              <a:gd name="connsiteY18" fmla="*/ 111251 h 66751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4746625" h="667511">
                <a:moveTo>
                  <a:pt x="0" y="111251"/>
                </a:moveTo>
                <a:cubicBezTo>
                  <a:pt x="0" y="49783"/>
                  <a:pt x="49784" y="0"/>
                  <a:pt x="111252" y="0"/>
                </a:cubicBezTo>
                <a:cubicBezTo>
                  <a:pt x="111252" y="0"/>
                  <a:pt x="111252" y="0"/>
                  <a:pt x="111252" y="0"/>
                </a:cubicBezTo>
                <a:lnTo>
                  <a:pt x="111252" y="0"/>
                </a:lnTo>
                <a:lnTo>
                  <a:pt x="4635372" y="0"/>
                </a:lnTo>
                <a:lnTo>
                  <a:pt x="4635372" y="0"/>
                </a:lnTo>
                <a:cubicBezTo>
                  <a:pt x="4696841" y="0"/>
                  <a:pt x="4746625" y="49783"/>
                  <a:pt x="4746625" y="111251"/>
                </a:cubicBezTo>
                <a:cubicBezTo>
                  <a:pt x="4746625" y="111251"/>
                  <a:pt x="4746625" y="111251"/>
                  <a:pt x="4746625" y="111251"/>
                </a:cubicBezTo>
                <a:lnTo>
                  <a:pt x="4746625" y="111251"/>
                </a:lnTo>
                <a:lnTo>
                  <a:pt x="4746625" y="556259"/>
                </a:lnTo>
                <a:lnTo>
                  <a:pt x="4746625" y="556259"/>
                </a:lnTo>
                <a:cubicBezTo>
                  <a:pt x="4746625" y="617727"/>
                  <a:pt x="4696841" y="667511"/>
                  <a:pt x="4635372" y="667511"/>
                </a:cubicBezTo>
                <a:cubicBezTo>
                  <a:pt x="4635372" y="667511"/>
                  <a:pt x="4635372" y="667511"/>
                  <a:pt x="4635372" y="667511"/>
                </a:cubicBezTo>
                <a:lnTo>
                  <a:pt x="4635372" y="667511"/>
                </a:lnTo>
                <a:lnTo>
                  <a:pt x="111252" y="667511"/>
                </a:lnTo>
                <a:lnTo>
                  <a:pt x="111252" y="667511"/>
                </a:lnTo>
                <a:cubicBezTo>
                  <a:pt x="49784" y="667511"/>
                  <a:pt x="0" y="617727"/>
                  <a:pt x="0" y="556259"/>
                </a:cubicBezTo>
                <a:cubicBezTo>
                  <a:pt x="0" y="556259"/>
                  <a:pt x="0" y="556259"/>
                  <a:pt x="0" y="556259"/>
                </a:cubicBezTo>
                <a:lnTo>
                  <a:pt x="0" y="111251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9" name="Freeform 3"/>
          <p:cNvSpPr/>
          <p:nvPr/>
        </p:nvSpPr>
        <p:spPr>
          <a:xfrm>
            <a:off x="3915898" y="1807953"/>
            <a:ext cx="211590" cy="321385"/>
          </a:xfrm>
          <a:custGeom>
            <a:avLst/>
            <a:gdLst>
              <a:gd name="connsiteX0" fmla="*/ 215900 w 215900"/>
              <a:gd name="connsiteY0" fmla="*/ 0 h 327913"/>
              <a:gd name="connsiteX1" fmla="*/ 215900 w 215900"/>
              <a:gd name="connsiteY1" fmla="*/ 243839 h 327913"/>
              <a:gd name="connsiteX2" fmla="*/ 107950 w 215900"/>
              <a:gd name="connsiteY2" fmla="*/ 327914 h 327913"/>
              <a:gd name="connsiteX3" fmla="*/ 0 w 215900"/>
              <a:gd name="connsiteY3" fmla="*/ 243839 h 327913"/>
              <a:gd name="connsiteX4" fmla="*/ 0 w 215900"/>
              <a:gd name="connsiteY4" fmla="*/ 0 h 327913"/>
              <a:gd name="connsiteX5" fmla="*/ 107950 w 215900"/>
              <a:gd name="connsiteY5" fmla="*/ 83947 h 327913"/>
              <a:gd name="connsiteX6" fmla="*/ 215900 w 215900"/>
              <a:gd name="connsiteY6" fmla="*/ 0 h 32791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15900" h="327913">
                <a:moveTo>
                  <a:pt x="215900" y="0"/>
                </a:moveTo>
                <a:lnTo>
                  <a:pt x="215900" y="243839"/>
                </a:lnTo>
                <a:lnTo>
                  <a:pt x="107950" y="327914"/>
                </a:lnTo>
                <a:lnTo>
                  <a:pt x="0" y="243839"/>
                </a:lnTo>
                <a:lnTo>
                  <a:pt x="0" y="0"/>
                </a:lnTo>
                <a:lnTo>
                  <a:pt x="107950" y="83947"/>
                </a:lnTo>
                <a:lnTo>
                  <a:pt x="215900" y="0"/>
                </a:lnTo>
              </a:path>
            </a:pathLst>
          </a:custGeom>
          <a:solidFill>
            <a:srgbClr val="C8C8C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" name="Freeform 3"/>
          <p:cNvSpPr/>
          <p:nvPr/>
        </p:nvSpPr>
        <p:spPr>
          <a:xfrm>
            <a:off x="3909675" y="1801729"/>
            <a:ext cx="224036" cy="333832"/>
          </a:xfrm>
          <a:custGeom>
            <a:avLst/>
            <a:gdLst>
              <a:gd name="connsiteX0" fmla="*/ 222250 w 228600"/>
              <a:gd name="connsiteY0" fmla="*/ 6350 h 340613"/>
              <a:gd name="connsiteX1" fmla="*/ 222250 w 228600"/>
              <a:gd name="connsiteY1" fmla="*/ 250189 h 340613"/>
              <a:gd name="connsiteX2" fmla="*/ 114300 w 228600"/>
              <a:gd name="connsiteY2" fmla="*/ 334264 h 340613"/>
              <a:gd name="connsiteX3" fmla="*/ 6350 w 228600"/>
              <a:gd name="connsiteY3" fmla="*/ 250189 h 340613"/>
              <a:gd name="connsiteX4" fmla="*/ 6350 w 228600"/>
              <a:gd name="connsiteY4" fmla="*/ 6350 h 340613"/>
              <a:gd name="connsiteX5" fmla="*/ 114300 w 228600"/>
              <a:gd name="connsiteY5" fmla="*/ 90297 h 340613"/>
              <a:gd name="connsiteX6" fmla="*/ 222250 w 228600"/>
              <a:gd name="connsiteY6" fmla="*/ 6350 h 34061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28600" h="340613">
                <a:moveTo>
                  <a:pt x="222250" y="6350"/>
                </a:moveTo>
                <a:lnTo>
                  <a:pt x="222250" y="250189"/>
                </a:lnTo>
                <a:lnTo>
                  <a:pt x="114300" y="334264"/>
                </a:lnTo>
                <a:lnTo>
                  <a:pt x="6350" y="250189"/>
                </a:lnTo>
                <a:lnTo>
                  <a:pt x="6350" y="6350"/>
                </a:lnTo>
                <a:lnTo>
                  <a:pt x="114300" y="90297"/>
                </a:lnTo>
                <a:lnTo>
                  <a:pt x="222250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" name="Freeform 3"/>
          <p:cNvSpPr/>
          <p:nvPr/>
        </p:nvSpPr>
        <p:spPr>
          <a:xfrm>
            <a:off x="3915898" y="2404545"/>
            <a:ext cx="211590" cy="321386"/>
          </a:xfrm>
          <a:custGeom>
            <a:avLst/>
            <a:gdLst>
              <a:gd name="connsiteX0" fmla="*/ 215900 w 215900"/>
              <a:gd name="connsiteY0" fmla="*/ 0 h 327914"/>
              <a:gd name="connsiteX1" fmla="*/ 215900 w 215900"/>
              <a:gd name="connsiteY1" fmla="*/ 243967 h 327914"/>
              <a:gd name="connsiteX2" fmla="*/ 107950 w 215900"/>
              <a:gd name="connsiteY2" fmla="*/ 327914 h 327914"/>
              <a:gd name="connsiteX3" fmla="*/ 0 w 215900"/>
              <a:gd name="connsiteY3" fmla="*/ 243967 h 327914"/>
              <a:gd name="connsiteX4" fmla="*/ 0 w 215900"/>
              <a:gd name="connsiteY4" fmla="*/ 0 h 327914"/>
              <a:gd name="connsiteX5" fmla="*/ 107950 w 215900"/>
              <a:gd name="connsiteY5" fmla="*/ 84074 h 327914"/>
              <a:gd name="connsiteX6" fmla="*/ 215900 w 215900"/>
              <a:gd name="connsiteY6" fmla="*/ 0 h 32791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15900" h="327914">
                <a:moveTo>
                  <a:pt x="215900" y="0"/>
                </a:moveTo>
                <a:lnTo>
                  <a:pt x="215900" y="243967"/>
                </a:lnTo>
                <a:lnTo>
                  <a:pt x="107950" y="327914"/>
                </a:lnTo>
                <a:lnTo>
                  <a:pt x="0" y="243967"/>
                </a:lnTo>
                <a:lnTo>
                  <a:pt x="0" y="0"/>
                </a:lnTo>
                <a:lnTo>
                  <a:pt x="107950" y="84074"/>
                </a:lnTo>
                <a:lnTo>
                  <a:pt x="215900" y="0"/>
                </a:lnTo>
              </a:path>
            </a:pathLst>
          </a:custGeom>
          <a:solidFill>
            <a:srgbClr val="C8C8C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2" name="Freeform 3"/>
          <p:cNvSpPr/>
          <p:nvPr/>
        </p:nvSpPr>
        <p:spPr>
          <a:xfrm>
            <a:off x="3909675" y="2398321"/>
            <a:ext cx="224036" cy="333833"/>
          </a:xfrm>
          <a:custGeom>
            <a:avLst/>
            <a:gdLst>
              <a:gd name="connsiteX0" fmla="*/ 222250 w 228600"/>
              <a:gd name="connsiteY0" fmla="*/ 6350 h 340614"/>
              <a:gd name="connsiteX1" fmla="*/ 222250 w 228600"/>
              <a:gd name="connsiteY1" fmla="*/ 250317 h 340614"/>
              <a:gd name="connsiteX2" fmla="*/ 114300 w 228600"/>
              <a:gd name="connsiteY2" fmla="*/ 334264 h 340614"/>
              <a:gd name="connsiteX3" fmla="*/ 6350 w 228600"/>
              <a:gd name="connsiteY3" fmla="*/ 250317 h 340614"/>
              <a:gd name="connsiteX4" fmla="*/ 6350 w 228600"/>
              <a:gd name="connsiteY4" fmla="*/ 6350 h 340614"/>
              <a:gd name="connsiteX5" fmla="*/ 114300 w 228600"/>
              <a:gd name="connsiteY5" fmla="*/ 90424 h 340614"/>
              <a:gd name="connsiteX6" fmla="*/ 222250 w 228600"/>
              <a:gd name="connsiteY6" fmla="*/ 6350 h 34061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28600" h="340614">
                <a:moveTo>
                  <a:pt x="222250" y="6350"/>
                </a:moveTo>
                <a:lnTo>
                  <a:pt x="222250" y="250317"/>
                </a:lnTo>
                <a:lnTo>
                  <a:pt x="114300" y="334264"/>
                </a:lnTo>
                <a:lnTo>
                  <a:pt x="6350" y="250317"/>
                </a:lnTo>
                <a:lnTo>
                  <a:pt x="6350" y="6350"/>
                </a:lnTo>
                <a:lnTo>
                  <a:pt x="114300" y="90424"/>
                </a:lnTo>
                <a:lnTo>
                  <a:pt x="222250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3" name="Freeform 3"/>
          <p:cNvSpPr/>
          <p:nvPr/>
        </p:nvSpPr>
        <p:spPr>
          <a:xfrm>
            <a:off x="3915898" y="2106560"/>
            <a:ext cx="211590" cy="321261"/>
          </a:xfrm>
          <a:custGeom>
            <a:avLst/>
            <a:gdLst>
              <a:gd name="connsiteX0" fmla="*/ 215900 w 215900"/>
              <a:gd name="connsiteY0" fmla="*/ 0 h 327786"/>
              <a:gd name="connsiteX1" fmla="*/ 215900 w 215900"/>
              <a:gd name="connsiteY1" fmla="*/ 243839 h 327786"/>
              <a:gd name="connsiteX2" fmla="*/ 107950 w 215900"/>
              <a:gd name="connsiteY2" fmla="*/ 327786 h 327786"/>
              <a:gd name="connsiteX3" fmla="*/ 0 w 215900"/>
              <a:gd name="connsiteY3" fmla="*/ 243839 h 327786"/>
              <a:gd name="connsiteX4" fmla="*/ 0 w 215900"/>
              <a:gd name="connsiteY4" fmla="*/ 0 h 327786"/>
              <a:gd name="connsiteX5" fmla="*/ 107950 w 215900"/>
              <a:gd name="connsiteY5" fmla="*/ 83947 h 327786"/>
              <a:gd name="connsiteX6" fmla="*/ 215900 w 215900"/>
              <a:gd name="connsiteY6" fmla="*/ 0 h 32778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15900" h="327786">
                <a:moveTo>
                  <a:pt x="215900" y="0"/>
                </a:moveTo>
                <a:lnTo>
                  <a:pt x="215900" y="243839"/>
                </a:lnTo>
                <a:lnTo>
                  <a:pt x="107950" y="327786"/>
                </a:lnTo>
                <a:lnTo>
                  <a:pt x="0" y="243839"/>
                </a:lnTo>
                <a:lnTo>
                  <a:pt x="0" y="0"/>
                </a:lnTo>
                <a:lnTo>
                  <a:pt x="107950" y="83947"/>
                </a:lnTo>
                <a:lnTo>
                  <a:pt x="215900" y="0"/>
                </a:lnTo>
              </a:path>
            </a:pathLst>
          </a:custGeom>
          <a:solidFill>
            <a:srgbClr val="C8C8C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4" name="Freeform 3"/>
          <p:cNvSpPr/>
          <p:nvPr/>
        </p:nvSpPr>
        <p:spPr>
          <a:xfrm>
            <a:off x="3909675" y="2100336"/>
            <a:ext cx="224036" cy="333708"/>
          </a:xfrm>
          <a:custGeom>
            <a:avLst/>
            <a:gdLst>
              <a:gd name="connsiteX0" fmla="*/ 222250 w 228600"/>
              <a:gd name="connsiteY0" fmla="*/ 6350 h 340486"/>
              <a:gd name="connsiteX1" fmla="*/ 222250 w 228600"/>
              <a:gd name="connsiteY1" fmla="*/ 250189 h 340486"/>
              <a:gd name="connsiteX2" fmla="*/ 114300 w 228600"/>
              <a:gd name="connsiteY2" fmla="*/ 334136 h 340486"/>
              <a:gd name="connsiteX3" fmla="*/ 6350 w 228600"/>
              <a:gd name="connsiteY3" fmla="*/ 250189 h 340486"/>
              <a:gd name="connsiteX4" fmla="*/ 6350 w 228600"/>
              <a:gd name="connsiteY4" fmla="*/ 6350 h 340486"/>
              <a:gd name="connsiteX5" fmla="*/ 114300 w 228600"/>
              <a:gd name="connsiteY5" fmla="*/ 90297 h 340486"/>
              <a:gd name="connsiteX6" fmla="*/ 222250 w 228600"/>
              <a:gd name="connsiteY6" fmla="*/ 6350 h 34048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28600" h="340486">
                <a:moveTo>
                  <a:pt x="222250" y="6350"/>
                </a:moveTo>
                <a:lnTo>
                  <a:pt x="222250" y="250189"/>
                </a:lnTo>
                <a:lnTo>
                  <a:pt x="114300" y="334136"/>
                </a:lnTo>
                <a:lnTo>
                  <a:pt x="6350" y="250189"/>
                </a:lnTo>
                <a:lnTo>
                  <a:pt x="6350" y="6350"/>
                </a:lnTo>
                <a:lnTo>
                  <a:pt x="114300" y="90297"/>
                </a:lnTo>
                <a:lnTo>
                  <a:pt x="222250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5" name="Freeform 3"/>
          <p:cNvSpPr/>
          <p:nvPr/>
        </p:nvSpPr>
        <p:spPr>
          <a:xfrm>
            <a:off x="2434898" y="1807953"/>
            <a:ext cx="281538" cy="691690"/>
          </a:xfrm>
          <a:custGeom>
            <a:avLst/>
            <a:gdLst>
              <a:gd name="connsiteX0" fmla="*/ 287273 w 287273"/>
              <a:gd name="connsiteY0" fmla="*/ 0 h 705739"/>
              <a:gd name="connsiteX1" fmla="*/ 287273 w 287273"/>
              <a:gd name="connsiteY1" fmla="*/ 593979 h 705739"/>
              <a:gd name="connsiteX2" fmla="*/ 143636 w 287273"/>
              <a:gd name="connsiteY2" fmla="*/ 705739 h 705739"/>
              <a:gd name="connsiteX3" fmla="*/ 0 w 287273"/>
              <a:gd name="connsiteY3" fmla="*/ 593979 h 705739"/>
              <a:gd name="connsiteX4" fmla="*/ 0 w 287273"/>
              <a:gd name="connsiteY4" fmla="*/ 0 h 705739"/>
              <a:gd name="connsiteX5" fmla="*/ 143636 w 287273"/>
              <a:gd name="connsiteY5" fmla="*/ 111760 h 705739"/>
              <a:gd name="connsiteX6" fmla="*/ 287273 w 287273"/>
              <a:gd name="connsiteY6" fmla="*/ 0 h 70573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87273" h="705739">
                <a:moveTo>
                  <a:pt x="287273" y="0"/>
                </a:moveTo>
                <a:lnTo>
                  <a:pt x="287273" y="593979"/>
                </a:lnTo>
                <a:lnTo>
                  <a:pt x="143636" y="705739"/>
                </a:lnTo>
                <a:lnTo>
                  <a:pt x="0" y="593979"/>
                </a:lnTo>
                <a:lnTo>
                  <a:pt x="0" y="0"/>
                </a:lnTo>
                <a:lnTo>
                  <a:pt x="143636" y="111760"/>
                </a:lnTo>
                <a:lnTo>
                  <a:pt x="287273" y="0"/>
                </a:lnTo>
              </a:path>
            </a:pathLst>
          </a:custGeom>
          <a:solidFill>
            <a:srgbClr val="C8C8C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6" name="Freeform 3"/>
          <p:cNvSpPr/>
          <p:nvPr/>
        </p:nvSpPr>
        <p:spPr>
          <a:xfrm>
            <a:off x="2428675" y="1801729"/>
            <a:ext cx="293984" cy="704137"/>
          </a:xfrm>
          <a:custGeom>
            <a:avLst/>
            <a:gdLst>
              <a:gd name="connsiteX0" fmla="*/ 293623 w 299973"/>
              <a:gd name="connsiteY0" fmla="*/ 6350 h 718439"/>
              <a:gd name="connsiteX1" fmla="*/ 293623 w 299973"/>
              <a:gd name="connsiteY1" fmla="*/ 600329 h 718439"/>
              <a:gd name="connsiteX2" fmla="*/ 149986 w 299973"/>
              <a:gd name="connsiteY2" fmla="*/ 712089 h 718439"/>
              <a:gd name="connsiteX3" fmla="*/ 6350 w 299973"/>
              <a:gd name="connsiteY3" fmla="*/ 600329 h 718439"/>
              <a:gd name="connsiteX4" fmla="*/ 6350 w 299973"/>
              <a:gd name="connsiteY4" fmla="*/ 6350 h 718439"/>
              <a:gd name="connsiteX5" fmla="*/ 149986 w 299973"/>
              <a:gd name="connsiteY5" fmla="*/ 118110 h 718439"/>
              <a:gd name="connsiteX6" fmla="*/ 293623 w 299973"/>
              <a:gd name="connsiteY6" fmla="*/ 6350 h 71843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99973" h="718439">
                <a:moveTo>
                  <a:pt x="293623" y="6350"/>
                </a:moveTo>
                <a:lnTo>
                  <a:pt x="293623" y="600329"/>
                </a:lnTo>
                <a:lnTo>
                  <a:pt x="149986" y="712089"/>
                </a:lnTo>
                <a:lnTo>
                  <a:pt x="6350" y="600329"/>
                </a:lnTo>
                <a:lnTo>
                  <a:pt x="6350" y="6350"/>
                </a:lnTo>
                <a:lnTo>
                  <a:pt x="149986" y="118110"/>
                </a:lnTo>
                <a:lnTo>
                  <a:pt x="293623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7" name="Freeform 3"/>
          <p:cNvSpPr/>
          <p:nvPr/>
        </p:nvSpPr>
        <p:spPr>
          <a:xfrm>
            <a:off x="2434898" y="3092251"/>
            <a:ext cx="281538" cy="691690"/>
          </a:xfrm>
          <a:custGeom>
            <a:avLst/>
            <a:gdLst>
              <a:gd name="connsiteX0" fmla="*/ 287273 w 287273"/>
              <a:gd name="connsiteY0" fmla="*/ 0 h 705739"/>
              <a:gd name="connsiteX1" fmla="*/ 287273 w 287273"/>
              <a:gd name="connsiteY1" fmla="*/ 593979 h 705739"/>
              <a:gd name="connsiteX2" fmla="*/ 143636 w 287273"/>
              <a:gd name="connsiteY2" fmla="*/ 705739 h 705739"/>
              <a:gd name="connsiteX3" fmla="*/ 0 w 287273"/>
              <a:gd name="connsiteY3" fmla="*/ 593979 h 705739"/>
              <a:gd name="connsiteX4" fmla="*/ 0 w 287273"/>
              <a:gd name="connsiteY4" fmla="*/ 0 h 705739"/>
              <a:gd name="connsiteX5" fmla="*/ 143636 w 287273"/>
              <a:gd name="connsiteY5" fmla="*/ 111760 h 705739"/>
              <a:gd name="connsiteX6" fmla="*/ 287273 w 287273"/>
              <a:gd name="connsiteY6" fmla="*/ 0 h 70573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87273" h="705739">
                <a:moveTo>
                  <a:pt x="287273" y="0"/>
                </a:moveTo>
                <a:lnTo>
                  <a:pt x="287273" y="593979"/>
                </a:lnTo>
                <a:lnTo>
                  <a:pt x="143636" y="705739"/>
                </a:lnTo>
                <a:lnTo>
                  <a:pt x="0" y="593979"/>
                </a:lnTo>
                <a:lnTo>
                  <a:pt x="0" y="0"/>
                </a:lnTo>
                <a:lnTo>
                  <a:pt x="143636" y="111760"/>
                </a:lnTo>
                <a:lnTo>
                  <a:pt x="287273" y="0"/>
                </a:lnTo>
              </a:path>
            </a:pathLst>
          </a:custGeom>
          <a:solidFill>
            <a:srgbClr val="C8C8C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8" name="Freeform 3"/>
          <p:cNvSpPr/>
          <p:nvPr/>
        </p:nvSpPr>
        <p:spPr>
          <a:xfrm>
            <a:off x="2428675" y="3086028"/>
            <a:ext cx="293984" cy="704137"/>
          </a:xfrm>
          <a:custGeom>
            <a:avLst/>
            <a:gdLst>
              <a:gd name="connsiteX0" fmla="*/ 293623 w 299973"/>
              <a:gd name="connsiteY0" fmla="*/ 6350 h 718439"/>
              <a:gd name="connsiteX1" fmla="*/ 293623 w 299973"/>
              <a:gd name="connsiteY1" fmla="*/ 600329 h 718439"/>
              <a:gd name="connsiteX2" fmla="*/ 149986 w 299973"/>
              <a:gd name="connsiteY2" fmla="*/ 712089 h 718439"/>
              <a:gd name="connsiteX3" fmla="*/ 6350 w 299973"/>
              <a:gd name="connsiteY3" fmla="*/ 600329 h 718439"/>
              <a:gd name="connsiteX4" fmla="*/ 6350 w 299973"/>
              <a:gd name="connsiteY4" fmla="*/ 6350 h 718439"/>
              <a:gd name="connsiteX5" fmla="*/ 149986 w 299973"/>
              <a:gd name="connsiteY5" fmla="*/ 118110 h 718439"/>
              <a:gd name="connsiteX6" fmla="*/ 293623 w 299973"/>
              <a:gd name="connsiteY6" fmla="*/ 6350 h 71843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99973" h="718439">
                <a:moveTo>
                  <a:pt x="293623" y="6350"/>
                </a:moveTo>
                <a:lnTo>
                  <a:pt x="293623" y="600329"/>
                </a:lnTo>
                <a:lnTo>
                  <a:pt x="149986" y="712089"/>
                </a:lnTo>
                <a:lnTo>
                  <a:pt x="6350" y="600329"/>
                </a:lnTo>
                <a:lnTo>
                  <a:pt x="6350" y="6350"/>
                </a:lnTo>
                <a:lnTo>
                  <a:pt x="149986" y="118110"/>
                </a:lnTo>
                <a:lnTo>
                  <a:pt x="293623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9" name="Freeform 3"/>
          <p:cNvSpPr/>
          <p:nvPr/>
        </p:nvSpPr>
        <p:spPr>
          <a:xfrm>
            <a:off x="2434898" y="2450600"/>
            <a:ext cx="281538" cy="691689"/>
          </a:xfrm>
          <a:custGeom>
            <a:avLst/>
            <a:gdLst>
              <a:gd name="connsiteX0" fmla="*/ 287273 w 287273"/>
              <a:gd name="connsiteY0" fmla="*/ 0 h 705738"/>
              <a:gd name="connsiteX1" fmla="*/ 287273 w 287273"/>
              <a:gd name="connsiteY1" fmla="*/ 593978 h 705738"/>
              <a:gd name="connsiteX2" fmla="*/ 143636 w 287273"/>
              <a:gd name="connsiteY2" fmla="*/ 705738 h 705738"/>
              <a:gd name="connsiteX3" fmla="*/ 0 w 287273"/>
              <a:gd name="connsiteY3" fmla="*/ 593978 h 705738"/>
              <a:gd name="connsiteX4" fmla="*/ 0 w 287273"/>
              <a:gd name="connsiteY4" fmla="*/ 0 h 705738"/>
              <a:gd name="connsiteX5" fmla="*/ 143636 w 287273"/>
              <a:gd name="connsiteY5" fmla="*/ 111886 h 705738"/>
              <a:gd name="connsiteX6" fmla="*/ 287273 w 287273"/>
              <a:gd name="connsiteY6" fmla="*/ 0 h 70573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87273" h="705738">
                <a:moveTo>
                  <a:pt x="287273" y="0"/>
                </a:moveTo>
                <a:lnTo>
                  <a:pt x="287273" y="593978"/>
                </a:lnTo>
                <a:lnTo>
                  <a:pt x="143636" y="705738"/>
                </a:lnTo>
                <a:lnTo>
                  <a:pt x="0" y="593978"/>
                </a:lnTo>
                <a:lnTo>
                  <a:pt x="0" y="0"/>
                </a:lnTo>
                <a:lnTo>
                  <a:pt x="143636" y="111886"/>
                </a:lnTo>
                <a:lnTo>
                  <a:pt x="287273" y="0"/>
                </a:lnTo>
              </a:path>
            </a:pathLst>
          </a:custGeom>
          <a:solidFill>
            <a:srgbClr val="C8C8C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0" name="Freeform 3"/>
          <p:cNvSpPr/>
          <p:nvPr/>
        </p:nvSpPr>
        <p:spPr>
          <a:xfrm>
            <a:off x="2428675" y="2444376"/>
            <a:ext cx="293984" cy="704136"/>
          </a:xfrm>
          <a:custGeom>
            <a:avLst/>
            <a:gdLst>
              <a:gd name="connsiteX0" fmla="*/ 293623 w 299973"/>
              <a:gd name="connsiteY0" fmla="*/ 6350 h 718438"/>
              <a:gd name="connsiteX1" fmla="*/ 293623 w 299973"/>
              <a:gd name="connsiteY1" fmla="*/ 600328 h 718438"/>
              <a:gd name="connsiteX2" fmla="*/ 149986 w 299973"/>
              <a:gd name="connsiteY2" fmla="*/ 712088 h 718438"/>
              <a:gd name="connsiteX3" fmla="*/ 6350 w 299973"/>
              <a:gd name="connsiteY3" fmla="*/ 600328 h 718438"/>
              <a:gd name="connsiteX4" fmla="*/ 6350 w 299973"/>
              <a:gd name="connsiteY4" fmla="*/ 6350 h 718438"/>
              <a:gd name="connsiteX5" fmla="*/ 149986 w 299973"/>
              <a:gd name="connsiteY5" fmla="*/ 118236 h 718438"/>
              <a:gd name="connsiteX6" fmla="*/ 293623 w 299973"/>
              <a:gd name="connsiteY6" fmla="*/ 6350 h 71843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99973" h="718438">
                <a:moveTo>
                  <a:pt x="293623" y="6350"/>
                </a:moveTo>
                <a:lnTo>
                  <a:pt x="293623" y="600328"/>
                </a:lnTo>
                <a:lnTo>
                  <a:pt x="149986" y="712088"/>
                </a:lnTo>
                <a:lnTo>
                  <a:pt x="6350" y="600328"/>
                </a:lnTo>
                <a:lnTo>
                  <a:pt x="6350" y="6350"/>
                </a:lnTo>
                <a:lnTo>
                  <a:pt x="149986" y="118236"/>
                </a:lnTo>
                <a:lnTo>
                  <a:pt x="293623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1" name="Freeform 3"/>
          <p:cNvSpPr/>
          <p:nvPr/>
        </p:nvSpPr>
        <p:spPr>
          <a:xfrm>
            <a:off x="1375332" y="1807952"/>
            <a:ext cx="281663" cy="1037597"/>
          </a:xfrm>
          <a:custGeom>
            <a:avLst/>
            <a:gdLst>
              <a:gd name="connsiteX0" fmla="*/ 287401 w 287401"/>
              <a:gd name="connsiteY0" fmla="*/ 0 h 1058672"/>
              <a:gd name="connsiteX1" fmla="*/ 287401 w 287401"/>
              <a:gd name="connsiteY1" fmla="*/ 946785 h 1058672"/>
              <a:gd name="connsiteX2" fmla="*/ 143636 w 287401"/>
              <a:gd name="connsiteY2" fmla="*/ 1058672 h 1058672"/>
              <a:gd name="connsiteX3" fmla="*/ 0 w 287401"/>
              <a:gd name="connsiteY3" fmla="*/ 946785 h 1058672"/>
              <a:gd name="connsiteX4" fmla="*/ 0 w 287401"/>
              <a:gd name="connsiteY4" fmla="*/ 0 h 1058672"/>
              <a:gd name="connsiteX5" fmla="*/ 143636 w 287401"/>
              <a:gd name="connsiteY5" fmla="*/ 111760 h 1058672"/>
              <a:gd name="connsiteX6" fmla="*/ 287401 w 287401"/>
              <a:gd name="connsiteY6" fmla="*/ 0 h 1058672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87401" h="1058672">
                <a:moveTo>
                  <a:pt x="287401" y="0"/>
                </a:moveTo>
                <a:lnTo>
                  <a:pt x="287401" y="946785"/>
                </a:lnTo>
                <a:lnTo>
                  <a:pt x="143636" y="1058672"/>
                </a:lnTo>
                <a:lnTo>
                  <a:pt x="0" y="946785"/>
                </a:lnTo>
                <a:lnTo>
                  <a:pt x="0" y="0"/>
                </a:lnTo>
                <a:lnTo>
                  <a:pt x="143636" y="111760"/>
                </a:lnTo>
                <a:lnTo>
                  <a:pt x="287401" y="0"/>
                </a:lnTo>
              </a:path>
            </a:pathLst>
          </a:custGeom>
          <a:solidFill>
            <a:srgbClr val="C8C8C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2" name="Freeform 3"/>
          <p:cNvSpPr/>
          <p:nvPr/>
        </p:nvSpPr>
        <p:spPr>
          <a:xfrm>
            <a:off x="1369109" y="1801729"/>
            <a:ext cx="294109" cy="1050044"/>
          </a:xfrm>
          <a:custGeom>
            <a:avLst/>
            <a:gdLst>
              <a:gd name="connsiteX0" fmla="*/ 293751 w 300101"/>
              <a:gd name="connsiteY0" fmla="*/ 6350 h 1071372"/>
              <a:gd name="connsiteX1" fmla="*/ 293751 w 300101"/>
              <a:gd name="connsiteY1" fmla="*/ 953135 h 1071372"/>
              <a:gd name="connsiteX2" fmla="*/ 149986 w 300101"/>
              <a:gd name="connsiteY2" fmla="*/ 1065022 h 1071372"/>
              <a:gd name="connsiteX3" fmla="*/ 6350 w 300101"/>
              <a:gd name="connsiteY3" fmla="*/ 953135 h 1071372"/>
              <a:gd name="connsiteX4" fmla="*/ 6350 w 300101"/>
              <a:gd name="connsiteY4" fmla="*/ 6350 h 1071372"/>
              <a:gd name="connsiteX5" fmla="*/ 149986 w 300101"/>
              <a:gd name="connsiteY5" fmla="*/ 118110 h 1071372"/>
              <a:gd name="connsiteX6" fmla="*/ 293751 w 300101"/>
              <a:gd name="connsiteY6" fmla="*/ 6350 h 1071372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300101" h="1071372">
                <a:moveTo>
                  <a:pt x="293751" y="6350"/>
                </a:moveTo>
                <a:lnTo>
                  <a:pt x="293751" y="953135"/>
                </a:lnTo>
                <a:lnTo>
                  <a:pt x="149986" y="1065022"/>
                </a:lnTo>
                <a:lnTo>
                  <a:pt x="6350" y="953135"/>
                </a:lnTo>
                <a:lnTo>
                  <a:pt x="6350" y="6350"/>
                </a:lnTo>
                <a:lnTo>
                  <a:pt x="149986" y="118110"/>
                </a:lnTo>
                <a:lnTo>
                  <a:pt x="293751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3" name="Freeform 3"/>
          <p:cNvSpPr/>
          <p:nvPr/>
        </p:nvSpPr>
        <p:spPr>
          <a:xfrm>
            <a:off x="1375332" y="3734401"/>
            <a:ext cx="281663" cy="1037597"/>
          </a:xfrm>
          <a:custGeom>
            <a:avLst/>
            <a:gdLst>
              <a:gd name="connsiteX0" fmla="*/ 287401 w 287401"/>
              <a:gd name="connsiteY0" fmla="*/ 0 h 1058672"/>
              <a:gd name="connsiteX1" fmla="*/ 287401 w 287401"/>
              <a:gd name="connsiteY1" fmla="*/ 946785 h 1058672"/>
              <a:gd name="connsiteX2" fmla="*/ 143636 w 287401"/>
              <a:gd name="connsiteY2" fmla="*/ 1058672 h 1058672"/>
              <a:gd name="connsiteX3" fmla="*/ 0 w 287401"/>
              <a:gd name="connsiteY3" fmla="*/ 946785 h 1058672"/>
              <a:gd name="connsiteX4" fmla="*/ 0 w 287401"/>
              <a:gd name="connsiteY4" fmla="*/ 0 h 1058672"/>
              <a:gd name="connsiteX5" fmla="*/ 143636 w 287401"/>
              <a:gd name="connsiteY5" fmla="*/ 111760 h 1058672"/>
              <a:gd name="connsiteX6" fmla="*/ 287401 w 287401"/>
              <a:gd name="connsiteY6" fmla="*/ 0 h 1058672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87401" h="1058672">
                <a:moveTo>
                  <a:pt x="287401" y="0"/>
                </a:moveTo>
                <a:lnTo>
                  <a:pt x="287401" y="946785"/>
                </a:lnTo>
                <a:lnTo>
                  <a:pt x="143636" y="1058672"/>
                </a:lnTo>
                <a:lnTo>
                  <a:pt x="0" y="946785"/>
                </a:lnTo>
                <a:lnTo>
                  <a:pt x="0" y="0"/>
                </a:lnTo>
                <a:lnTo>
                  <a:pt x="143636" y="111760"/>
                </a:lnTo>
                <a:lnTo>
                  <a:pt x="287401" y="0"/>
                </a:lnTo>
              </a:path>
            </a:pathLst>
          </a:custGeom>
          <a:solidFill>
            <a:srgbClr val="C8C8C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4" name="Freeform 3"/>
          <p:cNvSpPr/>
          <p:nvPr/>
        </p:nvSpPr>
        <p:spPr>
          <a:xfrm>
            <a:off x="1369109" y="3728177"/>
            <a:ext cx="294109" cy="1050044"/>
          </a:xfrm>
          <a:custGeom>
            <a:avLst/>
            <a:gdLst>
              <a:gd name="connsiteX0" fmla="*/ 293751 w 300101"/>
              <a:gd name="connsiteY0" fmla="*/ 6350 h 1071372"/>
              <a:gd name="connsiteX1" fmla="*/ 293751 w 300101"/>
              <a:gd name="connsiteY1" fmla="*/ 953135 h 1071372"/>
              <a:gd name="connsiteX2" fmla="*/ 149986 w 300101"/>
              <a:gd name="connsiteY2" fmla="*/ 1065022 h 1071372"/>
              <a:gd name="connsiteX3" fmla="*/ 6350 w 300101"/>
              <a:gd name="connsiteY3" fmla="*/ 953135 h 1071372"/>
              <a:gd name="connsiteX4" fmla="*/ 6350 w 300101"/>
              <a:gd name="connsiteY4" fmla="*/ 6350 h 1071372"/>
              <a:gd name="connsiteX5" fmla="*/ 149986 w 300101"/>
              <a:gd name="connsiteY5" fmla="*/ 118110 h 1071372"/>
              <a:gd name="connsiteX6" fmla="*/ 293751 w 300101"/>
              <a:gd name="connsiteY6" fmla="*/ 6350 h 1071372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300101" h="1071372">
                <a:moveTo>
                  <a:pt x="293751" y="6350"/>
                </a:moveTo>
                <a:lnTo>
                  <a:pt x="293751" y="953135"/>
                </a:lnTo>
                <a:lnTo>
                  <a:pt x="149986" y="1065022"/>
                </a:lnTo>
                <a:lnTo>
                  <a:pt x="6350" y="953135"/>
                </a:lnTo>
                <a:lnTo>
                  <a:pt x="6350" y="6350"/>
                </a:lnTo>
                <a:lnTo>
                  <a:pt x="149986" y="118110"/>
                </a:lnTo>
                <a:lnTo>
                  <a:pt x="293751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5" name="Freeform 3"/>
          <p:cNvSpPr/>
          <p:nvPr/>
        </p:nvSpPr>
        <p:spPr>
          <a:xfrm>
            <a:off x="1375332" y="2771985"/>
            <a:ext cx="281663" cy="1037597"/>
          </a:xfrm>
          <a:custGeom>
            <a:avLst/>
            <a:gdLst>
              <a:gd name="connsiteX0" fmla="*/ 287401 w 287401"/>
              <a:gd name="connsiteY0" fmla="*/ 0 h 1058672"/>
              <a:gd name="connsiteX1" fmla="*/ 287401 w 287401"/>
              <a:gd name="connsiteY1" fmla="*/ 946785 h 1058672"/>
              <a:gd name="connsiteX2" fmla="*/ 143636 w 287401"/>
              <a:gd name="connsiteY2" fmla="*/ 1058672 h 1058672"/>
              <a:gd name="connsiteX3" fmla="*/ 0 w 287401"/>
              <a:gd name="connsiteY3" fmla="*/ 946785 h 1058672"/>
              <a:gd name="connsiteX4" fmla="*/ 0 w 287401"/>
              <a:gd name="connsiteY4" fmla="*/ 0 h 1058672"/>
              <a:gd name="connsiteX5" fmla="*/ 143636 w 287401"/>
              <a:gd name="connsiteY5" fmla="*/ 111760 h 1058672"/>
              <a:gd name="connsiteX6" fmla="*/ 287401 w 287401"/>
              <a:gd name="connsiteY6" fmla="*/ 0 h 1058672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87401" h="1058672">
                <a:moveTo>
                  <a:pt x="287401" y="0"/>
                </a:moveTo>
                <a:lnTo>
                  <a:pt x="287401" y="946785"/>
                </a:lnTo>
                <a:lnTo>
                  <a:pt x="143636" y="1058672"/>
                </a:lnTo>
                <a:lnTo>
                  <a:pt x="0" y="946785"/>
                </a:lnTo>
                <a:lnTo>
                  <a:pt x="0" y="0"/>
                </a:lnTo>
                <a:lnTo>
                  <a:pt x="143636" y="111760"/>
                </a:lnTo>
                <a:lnTo>
                  <a:pt x="287401" y="0"/>
                </a:lnTo>
              </a:path>
            </a:pathLst>
          </a:custGeom>
          <a:solidFill>
            <a:srgbClr val="C8C8C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6" name="Freeform 3"/>
          <p:cNvSpPr/>
          <p:nvPr/>
        </p:nvSpPr>
        <p:spPr>
          <a:xfrm>
            <a:off x="1369109" y="2765761"/>
            <a:ext cx="294109" cy="1050044"/>
          </a:xfrm>
          <a:custGeom>
            <a:avLst/>
            <a:gdLst>
              <a:gd name="connsiteX0" fmla="*/ 293751 w 300101"/>
              <a:gd name="connsiteY0" fmla="*/ 6350 h 1071372"/>
              <a:gd name="connsiteX1" fmla="*/ 293751 w 300101"/>
              <a:gd name="connsiteY1" fmla="*/ 953135 h 1071372"/>
              <a:gd name="connsiteX2" fmla="*/ 149986 w 300101"/>
              <a:gd name="connsiteY2" fmla="*/ 1065022 h 1071372"/>
              <a:gd name="connsiteX3" fmla="*/ 6350 w 300101"/>
              <a:gd name="connsiteY3" fmla="*/ 953135 h 1071372"/>
              <a:gd name="connsiteX4" fmla="*/ 6350 w 300101"/>
              <a:gd name="connsiteY4" fmla="*/ 6350 h 1071372"/>
              <a:gd name="connsiteX5" fmla="*/ 149986 w 300101"/>
              <a:gd name="connsiteY5" fmla="*/ 118110 h 1071372"/>
              <a:gd name="connsiteX6" fmla="*/ 293751 w 300101"/>
              <a:gd name="connsiteY6" fmla="*/ 6350 h 1071372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300101" h="1071372">
                <a:moveTo>
                  <a:pt x="293751" y="6350"/>
                </a:moveTo>
                <a:lnTo>
                  <a:pt x="293751" y="953135"/>
                </a:lnTo>
                <a:lnTo>
                  <a:pt x="149986" y="1065022"/>
                </a:lnTo>
                <a:lnTo>
                  <a:pt x="6350" y="953135"/>
                </a:lnTo>
                <a:lnTo>
                  <a:pt x="6350" y="6350"/>
                </a:lnTo>
                <a:lnTo>
                  <a:pt x="149986" y="118110"/>
                </a:lnTo>
                <a:lnTo>
                  <a:pt x="293751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7" name="Freeform 3"/>
          <p:cNvSpPr/>
          <p:nvPr/>
        </p:nvSpPr>
        <p:spPr>
          <a:xfrm>
            <a:off x="2293258" y="3783941"/>
            <a:ext cx="4869670" cy="846408"/>
          </a:xfrm>
          <a:custGeom>
            <a:avLst/>
            <a:gdLst>
              <a:gd name="connsiteX0" fmla="*/ 0 w 4968875"/>
              <a:gd name="connsiteY0" fmla="*/ 143890 h 863600"/>
              <a:gd name="connsiteX1" fmla="*/ 143891 w 4968875"/>
              <a:gd name="connsiteY1" fmla="*/ 0 h 863600"/>
              <a:gd name="connsiteX2" fmla="*/ 143891 w 4968875"/>
              <a:gd name="connsiteY2" fmla="*/ 0 h 863600"/>
              <a:gd name="connsiteX3" fmla="*/ 143891 w 4968875"/>
              <a:gd name="connsiteY3" fmla="*/ 0 h 863600"/>
              <a:gd name="connsiteX4" fmla="*/ 4824983 w 4968875"/>
              <a:gd name="connsiteY4" fmla="*/ 0 h 863600"/>
              <a:gd name="connsiteX5" fmla="*/ 4824983 w 4968875"/>
              <a:gd name="connsiteY5" fmla="*/ 0 h 863600"/>
              <a:gd name="connsiteX6" fmla="*/ 4968875 w 4968875"/>
              <a:gd name="connsiteY6" fmla="*/ 143890 h 863600"/>
              <a:gd name="connsiteX7" fmla="*/ 4968875 w 4968875"/>
              <a:gd name="connsiteY7" fmla="*/ 143890 h 863600"/>
              <a:gd name="connsiteX8" fmla="*/ 4968875 w 4968875"/>
              <a:gd name="connsiteY8" fmla="*/ 143890 h 863600"/>
              <a:gd name="connsiteX9" fmla="*/ 4968875 w 4968875"/>
              <a:gd name="connsiteY9" fmla="*/ 719709 h 863600"/>
              <a:gd name="connsiteX10" fmla="*/ 4968875 w 4968875"/>
              <a:gd name="connsiteY10" fmla="*/ 719709 h 863600"/>
              <a:gd name="connsiteX11" fmla="*/ 4824983 w 4968875"/>
              <a:gd name="connsiteY11" fmla="*/ 863600 h 863600"/>
              <a:gd name="connsiteX12" fmla="*/ 4824983 w 4968875"/>
              <a:gd name="connsiteY12" fmla="*/ 863600 h 863600"/>
              <a:gd name="connsiteX13" fmla="*/ 4824983 w 4968875"/>
              <a:gd name="connsiteY13" fmla="*/ 863600 h 863600"/>
              <a:gd name="connsiteX14" fmla="*/ 143891 w 4968875"/>
              <a:gd name="connsiteY14" fmla="*/ 863600 h 863600"/>
              <a:gd name="connsiteX15" fmla="*/ 143891 w 4968875"/>
              <a:gd name="connsiteY15" fmla="*/ 863600 h 863600"/>
              <a:gd name="connsiteX16" fmla="*/ 0 w 4968875"/>
              <a:gd name="connsiteY16" fmla="*/ 719709 h 863600"/>
              <a:gd name="connsiteX17" fmla="*/ 0 w 4968875"/>
              <a:gd name="connsiteY17" fmla="*/ 719709 h 863600"/>
              <a:gd name="connsiteX18" fmla="*/ 0 w 4968875"/>
              <a:gd name="connsiteY18" fmla="*/ 143890 h 8636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4968875" h="863600">
                <a:moveTo>
                  <a:pt x="0" y="143890"/>
                </a:moveTo>
                <a:cubicBezTo>
                  <a:pt x="0" y="64389"/>
                  <a:pt x="64389" y="0"/>
                  <a:pt x="143891" y="0"/>
                </a:cubicBezTo>
                <a:cubicBezTo>
                  <a:pt x="143891" y="0"/>
                  <a:pt x="143891" y="0"/>
                  <a:pt x="143891" y="0"/>
                </a:cubicBezTo>
                <a:lnTo>
                  <a:pt x="143891" y="0"/>
                </a:lnTo>
                <a:lnTo>
                  <a:pt x="4824983" y="0"/>
                </a:lnTo>
                <a:lnTo>
                  <a:pt x="4824983" y="0"/>
                </a:lnTo>
                <a:cubicBezTo>
                  <a:pt x="4904485" y="0"/>
                  <a:pt x="4968875" y="64389"/>
                  <a:pt x="4968875" y="143890"/>
                </a:cubicBezTo>
                <a:cubicBezTo>
                  <a:pt x="4968875" y="143890"/>
                  <a:pt x="4968875" y="143890"/>
                  <a:pt x="4968875" y="143890"/>
                </a:cubicBezTo>
                <a:lnTo>
                  <a:pt x="4968875" y="143890"/>
                </a:lnTo>
                <a:lnTo>
                  <a:pt x="4968875" y="719709"/>
                </a:lnTo>
                <a:lnTo>
                  <a:pt x="4968875" y="719709"/>
                </a:lnTo>
                <a:cubicBezTo>
                  <a:pt x="4968875" y="799210"/>
                  <a:pt x="4904485" y="863600"/>
                  <a:pt x="4824983" y="863600"/>
                </a:cubicBezTo>
                <a:cubicBezTo>
                  <a:pt x="4824983" y="863600"/>
                  <a:pt x="4824983" y="863600"/>
                  <a:pt x="4824983" y="863600"/>
                </a:cubicBezTo>
                <a:lnTo>
                  <a:pt x="4824983" y="863600"/>
                </a:lnTo>
                <a:lnTo>
                  <a:pt x="143891" y="863600"/>
                </a:lnTo>
                <a:lnTo>
                  <a:pt x="143891" y="863600"/>
                </a:lnTo>
                <a:cubicBezTo>
                  <a:pt x="64389" y="863600"/>
                  <a:pt x="0" y="799210"/>
                  <a:pt x="0" y="719709"/>
                </a:cubicBezTo>
                <a:cubicBezTo>
                  <a:pt x="0" y="719709"/>
                  <a:pt x="0" y="719709"/>
                  <a:pt x="0" y="719709"/>
                </a:cubicBezTo>
                <a:lnTo>
                  <a:pt x="0" y="143890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8" name="Freeform 3"/>
          <p:cNvSpPr/>
          <p:nvPr/>
        </p:nvSpPr>
        <p:spPr>
          <a:xfrm>
            <a:off x="2402164" y="3922852"/>
            <a:ext cx="4651858" cy="654223"/>
          </a:xfrm>
          <a:custGeom>
            <a:avLst/>
            <a:gdLst>
              <a:gd name="connsiteX0" fmla="*/ 0 w 4746625"/>
              <a:gd name="connsiteY0" fmla="*/ 111252 h 667511"/>
              <a:gd name="connsiteX1" fmla="*/ 111251 w 4746625"/>
              <a:gd name="connsiteY1" fmla="*/ 0 h 667511"/>
              <a:gd name="connsiteX2" fmla="*/ 111251 w 4746625"/>
              <a:gd name="connsiteY2" fmla="*/ 0 h 667511"/>
              <a:gd name="connsiteX3" fmla="*/ 111251 w 4746625"/>
              <a:gd name="connsiteY3" fmla="*/ 0 h 667511"/>
              <a:gd name="connsiteX4" fmla="*/ 4635372 w 4746625"/>
              <a:gd name="connsiteY4" fmla="*/ 0 h 667511"/>
              <a:gd name="connsiteX5" fmla="*/ 4635372 w 4746625"/>
              <a:gd name="connsiteY5" fmla="*/ 0 h 667511"/>
              <a:gd name="connsiteX6" fmla="*/ 4746625 w 4746625"/>
              <a:gd name="connsiteY6" fmla="*/ 111252 h 667511"/>
              <a:gd name="connsiteX7" fmla="*/ 4746625 w 4746625"/>
              <a:gd name="connsiteY7" fmla="*/ 111252 h 667511"/>
              <a:gd name="connsiteX8" fmla="*/ 4746625 w 4746625"/>
              <a:gd name="connsiteY8" fmla="*/ 111252 h 667511"/>
              <a:gd name="connsiteX9" fmla="*/ 4746625 w 4746625"/>
              <a:gd name="connsiteY9" fmla="*/ 556259 h 667511"/>
              <a:gd name="connsiteX10" fmla="*/ 4746625 w 4746625"/>
              <a:gd name="connsiteY10" fmla="*/ 556259 h 667511"/>
              <a:gd name="connsiteX11" fmla="*/ 4635372 w 4746625"/>
              <a:gd name="connsiteY11" fmla="*/ 667511 h 667511"/>
              <a:gd name="connsiteX12" fmla="*/ 4635372 w 4746625"/>
              <a:gd name="connsiteY12" fmla="*/ 667511 h 667511"/>
              <a:gd name="connsiteX13" fmla="*/ 4635372 w 4746625"/>
              <a:gd name="connsiteY13" fmla="*/ 667511 h 667511"/>
              <a:gd name="connsiteX14" fmla="*/ 111251 w 4746625"/>
              <a:gd name="connsiteY14" fmla="*/ 667511 h 667511"/>
              <a:gd name="connsiteX15" fmla="*/ 111251 w 4746625"/>
              <a:gd name="connsiteY15" fmla="*/ 667511 h 667511"/>
              <a:gd name="connsiteX16" fmla="*/ 0 w 4746625"/>
              <a:gd name="connsiteY16" fmla="*/ 556259 h 667511"/>
              <a:gd name="connsiteX17" fmla="*/ 0 w 4746625"/>
              <a:gd name="connsiteY17" fmla="*/ 556259 h 667511"/>
              <a:gd name="connsiteX18" fmla="*/ 0 w 4746625"/>
              <a:gd name="connsiteY18" fmla="*/ 111252 h 66751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4746625" h="667511">
                <a:moveTo>
                  <a:pt x="0" y="111252"/>
                </a:moveTo>
                <a:cubicBezTo>
                  <a:pt x="0" y="49783"/>
                  <a:pt x="49783" y="0"/>
                  <a:pt x="111251" y="0"/>
                </a:cubicBezTo>
                <a:cubicBezTo>
                  <a:pt x="111251" y="0"/>
                  <a:pt x="111251" y="0"/>
                  <a:pt x="111251" y="0"/>
                </a:cubicBezTo>
                <a:lnTo>
                  <a:pt x="111251" y="0"/>
                </a:lnTo>
                <a:lnTo>
                  <a:pt x="4635372" y="0"/>
                </a:lnTo>
                <a:lnTo>
                  <a:pt x="4635372" y="0"/>
                </a:lnTo>
                <a:cubicBezTo>
                  <a:pt x="4696841" y="0"/>
                  <a:pt x="4746625" y="49783"/>
                  <a:pt x="4746625" y="111252"/>
                </a:cubicBezTo>
                <a:cubicBezTo>
                  <a:pt x="4746625" y="111252"/>
                  <a:pt x="4746625" y="111252"/>
                  <a:pt x="4746625" y="111252"/>
                </a:cubicBezTo>
                <a:lnTo>
                  <a:pt x="4746625" y="111252"/>
                </a:lnTo>
                <a:lnTo>
                  <a:pt x="4746625" y="556259"/>
                </a:lnTo>
                <a:lnTo>
                  <a:pt x="4746625" y="556259"/>
                </a:lnTo>
                <a:cubicBezTo>
                  <a:pt x="4746625" y="617727"/>
                  <a:pt x="4696841" y="667511"/>
                  <a:pt x="4635372" y="667511"/>
                </a:cubicBezTo>
                <a:cubicBezTo>
                  <a:pt x="4635372" y="667511"/>
                  <a:pt x="4635372" y="667511"/>
                  <a:pt x="4635372" y="667511"/>
                </a:cubicBezTo>
                <a:lnTo>
                  <a:pt x="4635372" y="667511"/>
                </a:lnTo>
                <a:lnTo>
                  <a:pt x="111251" y="667511"/>
                </a:lnTo>
                <a:lnTo>
                  <a:pt x="111251" y="667511"/>
                </a:lnTo>
                <a:cubicBezTo>
                  <a:pt x="49783" y="667511"/>
                  <a:pt x="0" y="617727"/>
                  <a:pt x="0" y="556259"/>
                </a:cubicBezTo>
                <a:cubicBezTo>
                  <a:pt x="0" y="556259"/>
                  <a:pt x="0" y="556259"/>
                  <a:pt x="0" y="556259"/>
                </a:cubicBezTo>
                <a:lnTo>
                  <a:pt x="0" y="111252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9" name="Freeform 3"/>
          <p:cNvSpPr/>
          <p:nvPr/>
        </p:nvSpPr>
        <p:spPr>
          <a:xfrm>
            <a:off x="1163743" y="4771873"/>
            <a:ext cx="4869670" cy="846470"/>
          </a:xfrm>
          <a:custGeom>
            <a:avLst/>
            <a:gdLst>
              <a:gd name="connsiteX0" fmla="*/ 0 w 4968875"/>
              <a:gd name="connsiteY0" fmla="*/ 144017 h 863663"/>
              <a:gd name="connsiteX1" fmla="*/ 143891 w 4968875"/>
              <a:gd name="connsiteY1" fmla="*/ 0 h 863663"/>
              <a:gd name="connsiteX2" fmla="*/ 143891 w 4968875"/>
              <a:gd name="connsiteY2" fmla="*/ 0 h 863663"/>
              <a:gd name="connsiteX3" fmla="*/ 143891 w 4968875"/>
              <a:gd name="connsiteY3" fmla="*/ 0 h 863663"/>
              <a:gd name="connsiteX4" fmla="*/ 4824984 w 4968875"/>
              <a:gd name="connsiteY4" fmla="*/ 0 h 863663"/>
              <a:gd name="connsiteX5" fmla="*/ 4824984 w 4968875"/>
              <a:gd name="connsiteY5" fmla="*/ 0 h 863663"/>
              <a:gd name="connsiteX6" fmla="*/ 4968875 w 4968875"/>
              <a:gd name="connsiteY6" fmla="*/ 144017 h 863663"/>
              <a:gd name="connsiteX7" fmla="*/ 4968875 w 4968875"/>
              <a:gd name="connsiteY7" fmla="*/ 144017 h 863663"/>
              <a:gd name="connsiteX8" fmla="*/ 4968875 w 4968875"/>
              <a:gd name="connsiteY8" fmla="*/ 144017 h 863663"/>
              <a:gd name="connsiteX9" fmla="*/ 4968875 w 4968875"/>
              <a:gd name="connsiteY9" fmla="*/ 719721 h 863663"/>
              <a:gd name="connsiteX10" fmla="*/ 4968875 w 4968875"/>
              <a:gd name="connsiteY10" fmla="*/ 719721 h 863663"/>
              <a:gd name="connsiteX11" fmla="*/ 4824984 w 4968875"/>
              <a:gd name="connsiteY11" fmla="*/ 863663 h 863663"/>
              <a:gd name="connsiteX12" fmla="*/ 4824984 w 4968875"/>
              <a:gd name="connsiteY12" fmla="*/ 863663 h 863663"/>
              <a:gd name="connsiteX13" fmla="*/ 4824984 w 4968875"/>
              <a:gd name="connsiteY13" fmla="*/ 863663 h 863663"/>
              <a:gd name="connsiteX14" fmla="*/ 143891 w 4968875"/>
              <a:gd name="connsiteY14" fmla="*/ 863663 h 863663"/>
              <a:gd name="connsiteX15" fmla="*/ 143891 w 4968875"/>
              <a:gd name="connsiteY15" fmla="*/ 863663 h 863663"/>
              <a:gd name="connsiteX16" fmla="*/ 0 w 4968875"/>
              <a:gd name="connsiteY16" fmla="*/ 719721 h 863663"/>
              <a:gd name="connsiteX17" fmla="*/ 0 w 4968875"/>
              <a:gd name="connsiteY17" fmla="*/ 719721 h 863663"/>
              <a:gd name="connsiteX18" fmla="*/ 0 w 4968875"/>
              <a:gd name="connsiteY18" fmla="*/ 144017 h 86366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4968875" h="863663">
                <a:moveTo>
                  <a:pt x="0" y="144017"/>
                </a:moveTo>
                <a:cubicBezTo>
                  <a:pt x="0" y="64516"/>
                  <a:pt x="64439" y="0"/>
                  <a:pt x="143891" y="0"/>
                </a:cubicBezTo>
                <a:cubicBezTo>
                  <a:pt x="143891" y="0"/>
                  <a:pt x="143891" y="0"/>
                  <a:pt x="143891" y="0"/>
                </a:cubicBezTo>
                <a:lnTo>
                  <a:pt x="143891" y="0"/>
                </a:lnTo>
                <a:lnTo>
                  <a:pt x="4824984" y="0"/>
                </a:lnTo>
                <a:lnTo>
                  <a:pt x="4824984" y="0"/>
                </a:lnTo>
                <a:cubicBezTo>
                  <a:pt x="4904485" y="0"/>
                  <a:pt x="4968875" y="64516"/>
                  <a:pt x="4968875" y="144017"/>
                </a:cubicBezTo>
                <a:cubicBezTo>
                  <a:pt x="4968875" y="144017"/>
                  <a:pt x="4968875" y="144017"/>
                  <a:pt x="4968875" y="144017"/>
                </a:cubicBezTo>
                <a:lnTo>
                  <a:pt x="4968875" y="144017"/>
                </a:lnTo>
                <a:lnTo>
                  <a:pt x="4968875" y="719721"/>
                </a:lnTo>
                <a:lnTo>
                  <a:pt x="4968875" y="719721"/>
                </a:lnTo>
                <a:cubicBezTo>
                  <a:pt x="4968875" y="799223"/>
                  <a:pt x="4904485" y="863663"/>
                  <a:pt x="4824984" y="863663"/>
                </a:cubicBezTo>
                <a:cubicBezTo>
                  <a:pt x="4824984" y="863663"/>
                  <a:pt x="4824984" y="863663"/>
                  <a:pt x="4824984" y="863663"/>
                </a:cubicBezTo>
                <a:lnTo>
                  <a:pt x="4824984" y="863663"/>
                </a:lnTo>
                <a:lnTo>
                  <a:pt x="143891" y="863663"/>
                </a:lnTo>
                <a:lnTo>
                  <a:pt x="143891" y="863663"/>
                </a:lnTo>
                <a:cubicBezTo>
                  <a:pt x="64439" y="863663"/>
                  <a:pt x="0" y="799223"/>
                  <a:pt x="0" y="719721"/>
                </a:cubicBezTo>
                <a:cubicBezTo>
                  <a:pt x="0" y="719721"/>
                  <a:pt x="0" y="719721"/>
                  <a:pt x="0" y="719721"/>
                </a:cubicBezTo>
                <a:lnTo>
                  <a:pt x="0" y="144017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30" name="Freeform 3"/>
          <p:cNvSpPr/>
          <p:nvPr/>
        </p:nvSpPr>
        <p:spPr>
          <a:xfrm>
            <a:off x="1272649" y="4910784"/>
            <a:ext cx="4651858" cy="654285"/>
          </a:xfrm>
          <a:custGeom>
            <a:avLst/>
            <a:gdLst>
              <a:gd name="connsiteX0" fmla="*/ 0 w 4746625"/>
              <a:gd name="connsiteY0" fmla="*/ 111378 h 667575"/>
              <a:gd name="connsiteX1" fmla="*/ 111252 w 4746625"/>
              <a:gd name="connsiteY1" fmla="*/ 0 h 667575"/>
              <a:gd name="connsiteX2" fmla="*/ 111252 w 4746625"/>
              <a:gd name="connsiteY2" fmla="*/ 0 h 667575"/>
              <a:gd name="connsiteX3" fmla="*/ 111252 w 4746625"/>
              <a:gd name="connsiteY3" fmla="*/ 0 h 667575"/>
              <a:gd name="connsiteX4" fmla="*/ 4635372 w 4746625"/>
              <a:gd name="connsiteY4" fmla="*/ 0 h 667575"/>
              <a:gd name="connsiteX5" fmla="*/ 4635372 w 4746625"/>
              <a:gd name="connsiteY5" fmla="*/ 0 h 667575"/>
              <a:gd name="connsiteX6" fmla="*/ 4746625 w 4746625"/>
              <a:gd name="connsiteY6" fmla="*/ 111378 h 667575"/>
              <a:gd name="connsiteX7" fmla="*/ 4746625 w 4746625"/>
              <a:gd name="connsiteY7" fmla="*/ 111378 h 667575"/>
              <a:gd name="connsiteX8" fmla="*/ 4746625 w 4746625"/>
              <a:gd name="connsiteY8" fmla="*/ 111378 h 667575"/>
              <a:gd name="connsiteX9" fmla="*/ 4746625 w 4746625"/>
              <a:gd name="connsiteY9" fmla="*/ 556386 h 667575"/>
              <a:gd name="connsiteX10" fmla="*/ 4746625 w 4746625"/>
              <a:gd name="connsiteY10" fmla="*/ 556386 h 667575"/>
              <a:gd name="connsiteX11" fmla="*/ 4635372 w 4746625"/>
              <a:gd name="connsiteY11" fmla="*/ 667575 h 667575"/>
              <a:gd name="connsiteX12" fmla="*/ 4635372 w 4746625"/>
              <a:gd name="connsiteY12" fmla="*/ 667575 h 667575"/>
              <a:gd name="connsiteX13" fmla="*/ 4635372 w 4746625"/>
              <a:gd name="connsiteY13" fmla="*/ 667575 h 667575"/>
              <a:gd name="connsiteX14" fmla="*/ 111252 w 4746625"/>
              <a:gd name="connsiteY14" fmla="*/ 667575 h 667575"/>
              <a:gd name="connsiteX15" fmla="*/ 111252 w 4746625"/>
              <a:gd name="connsiteY15" fmla="*/ 667575 h 667575"/>
              <a:gd name="connsiteX16" fmla="*/ 0 w 4746625"/>
              <a:gd name="connsiteY16" fmla="*/ 556386 h 667575"/>
              <a:gd name="connsiteX17" fmla="*/ 0 w 4746625"/>
              <a:gd name="connsiteY17" fmla="*/ 556386 h 667575"/>
              <a:gd name="connsiteX18" fmla="*/ 0 w 4746625"/>
              <a:gd name="connsiteY18" fmla="*/ 111378 h 66757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4746625" h="667575">
                <a:moveTo>
                  <a:pt x="0" y="111378"/>
                </a:moveTo>
                <a:cubicBezTo>
                  <a:pt x="0" y="49910"/>
                  <a:pt x="49783" y="0"/>
                  <a:pt x="111252" y="0"/>
                </a:cubicBezTo>
                <a:cubicBezTo>
                  <a:pt x="111252" y="0"/>
                  <a:pt x="111252" y="0"/>
                  <a:pt x="111252" y="0"/>
                </a:cubicBezTo>
                <a:lnTo>
                  <a:pt x="111252" y="0"/>
                </a:lnTo>
                <a:lnTo>
                  <a:pt x="4635372" y="0"/>
                </a:lnTo>
                <a:lnTo>
                  <a:pt x="4635372" y="0"/>
                </a:lnTo>
                <a:cubicBezTo>
                  <a:pt x="4696840" y="0"/>
                  <a:pt x="4746625" y="49910"/>
                  <a:pt x="4746625" y="111378"/>
                </a:cubicBezTo>
                <a:cubicBezTo>
                  <a:pt x="4746625" y="111378"/>
                  <a:pt x="4746625" y="111378"/>
                  <a:pt x="4746625" y="111378"/>
                </a:cubicBezTo>
                <a:lnTo>
                  <a:pt x="4746625" y="111378"/>
                </a:lnTo>
                <a:lnTo>
                  <a:pt x="4746625" y="556386"/>
                </a:lnTo>
                <a:lnTo>
                  <a:pt x="4746625" y="556386"/>
                </a:lnTo>
                <a:cubicBezTo>
                  <a:pt x="4746625" y="617766"/>
                  <a:pt x="4696840" y="667575"/>
                  <a:pt x="4635372" y="667575"/>
                </a:cubicBezTo>
                <a:cubicBezTo>
                  <a:pt x="4635372" y="667575"/>
                  <a:pt x="4635372" y="667575"/>
                  <a:pt x="4635372" y="667575"/>
                </a:cubicBezTo>
                <a:lnTo>
                  <a:pt x="4635372" y="667575"/>
                </a:lnTo>
                <a:lnTo>
                  <a:pt x="111252" y="667575"/>
                </a:lnTo>
                <a:lnTo>
                  <a:pt x="111252" y="667575"/>
                </a:lnTo>
                <a:cubicBezTo>
                  <a:pt x="49783" y="667575"/>
                  <a:pt x="0" y="617766"/>
                  <a:pt x="0" y="556386"/>
                </a:cubicBezTo>
                <a:cubicBezTo>
                  <a:pt x="0" y="556386"/>
                  <a:pt x="0" y="556386"/>
                  <a:pt x="0" y="556386"/>
                </a:cubicBezTo>
                <a:lnTo>
                  <a:pt x="0" y="111378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pic>
        <p:nvPicPr>
          <p:cNvPr id="1024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60539" y="2738379"/>
            <a:ext cx="4903898" cy="871302"/>
          </a:xfrm>
          <a:prstGeom prst="rect">
            <a:avLst/>
          </a:prstGeom>
          <a:noFill/>
        </p:spPr>
      </p:pic>
      <p:pic>
        <p:nvPicPr>
          <p:cNvPr id="1025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302592" y="3796389"/>
            <a:ext cx="4903898" cy="871302"/>
          </a:xfrm>
          <a:prstGeom prst="rect">
            <a:avLst/>
          </a:prstGeom>
          <a:noFill/>
        </p:spPr>
      </p:pic>
      <p:pic>
        <p:nvPicPr>
          <p:cNvPr id="1026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169966" y="4779716"/>
            <a:ext cx="4903898" cy="871302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18</a:t>
            </a:r>
          </a:p>
        </p:txBody>
      </p:sp>
      <p:sp>
        <p:nvSpPr>
          <p:cNvPr id="1029" name="TextBox 1"/>
          <p:cNvSpPr txBox="1"/>
          <p:nvPr/>
        </p:nvSpPr>
        <p:spPr>
          <a:xfrm>
            <a:off x="547644" y="560123"/>
            <a:ext cx="4378699" cy="118658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104546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2.Направл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вит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системы</a:t>
            </a:r>
          </a:p>
          <a:p>
            <a:pPr>
              <a:lnSpc>
                <a:spcPts val="2058"/>
              </a:lnSpc>
              <a:tabLst>
                <a:tab pos="104546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842"/>
              </a:lnSpc>
              <a:tabLst>
                <a:tab pos="1045464" algn="l"/>
              </a:tabLst>
            </a:pPr>
            <a:r>
              <a:rPr lang="en-US" altLang="zh-CN" dirty="0" smtClean="0"/>
              <a:t>	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ные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правления</a:t>
            </a:r>
          </a:p>
        </p:txBody>
      </p:sp>
      <p:sp>
        <p:nvSpPr>
          <p:cNvPr id="1030" name="TextBox 1"/>
          <p:cNvSpPr txBox="1"/>
          <p:nvPr/>
        </p:nvSpPr>
        <p:spPr>
          <a:xfrm>
            <a:off x="1319323" y="3037111"/>
            <a:ext cx="6280565" cy="2610048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862"/>
              </a:lnSpc>
              <a:tabLst>
                <a:tab pos="74676" algn="l"/>
                <a:tab pos="1132586" algn="l"/>
                <a:tab pos="1207262" algn="l"/>
                <a:tab pos="2190496" algn="l"/>
                <a:tab pos="2265172" algn="l"/>
              </a:tabLst>
            </a:pPr>
            <a:r>
              <a:rPr lang="en-US" altLang="zh-CN" dirty="0" smtClean="0"/>
              <a:t>				</a:t>
            </a:r>
            <a:r>
              <a:rPr lang="en-US" altLang="zh-CN" sz="1700" dirty="0" err="1">
                <a:latin typeface="Arial Narrow" pitchFamily="18" charset="0"/>
                <a:cs typeface="Arial Narrow" pitchFamily="18" charset="0"/>
              </a:rPr>
              <a:t>Развитие</a:t>
            </a:r>
            <a:r>
              <a:rPr lang="ru-RU" altLang="zh-CN" sz="1700" dirty="0">
                <a:latin typeface="Arial Narrow" pitchFamily="18" charset="0"/>
                <a:cs typeface="Arial Narrow" pitchFamily="18" charset="0"/>
              </a:rPr>
              <a:t> </a:t>
            </a:r>
            <a:r>
              <a:rPr lang="en-US" altLang="zh-CN" sz="1700" dirty="0" err="1">
                <a:latin typeface="Arial Narrow" pitchFamily="18" charset="0"/>
                <a:cs typeface="Arial Narrow" pitchFamily="18" charset="0"/>
              </a:rPr>
              <a:t>нормативной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latin typeface="Arial Narrow" pitchFamily="18" charset="0"/>
                <a:cs typeface="Arial Narrow" pitchFamily="18" charset="0"/>
              </a:rPr>
              <a:t>базы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latin typeface="Arial Narrow" pitchFamily="18" charset="0"/>
                <a:cs typeface="Arial Narrow" pitchFamily="18" charset="0"/>
              </a:rPr>
              <a:t>для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latin typeface="Arial Narrow" pitchFamily="18" charset="0"/>
                <a:cs typeface="Arial Narrow" pitchFamily="18" charset="0"/>
              </a:rPr>
              <a:t>работников</a:t>
            </a:r>
          </a:p>
          <a:p>
            <a:pPr>
              <a:lnSpc>
                <a:spcPts val="1960"/>
              </a:lnSpc>
              <a:tabLst>
                <a:tab pos="74676" algn="l"/>
                <a:tab pos="1132586" algn="l"/>
                <a:tab pos="1207262" algn="l"/>
                <a:tab pos="2190496" algn="l"/>
                <a:tab pos="2265172" algn="l"/>
              </a:tabLst>
            </a:pPr>
            <a:r>
              <a:rPr lang="en-US" altLang="zh-CN" dirty="0" smtClean="0"/>
              <a:t>					</a:t>
            </a:r>
            <a:r>
              <a:rPr lang="en-US" altLang="zh-CN" sz="1700" dirty="0">
                <a:latin typeface="Arial Narrow" pitchFamily="18" charset="0"/>
                <a:cs typeface="Arial Narrow" pitchFamily="18" charset="0"/>
              </a:rPr>
              <a:t>общеотраслевых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latin typeface="Arial Narrow" pitchFamily="18" charset="0"/>
                <a:cs typeface="Arial Narrow" pitchFamily="18" charset="0"/>
              </a:rPr>
              <a:t>профессий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352"/>
              </a:lnSpc>
              <a:tabLst>
                <a:tab pos="74676" algn="l"/>
                <a:tab pos="1132586" algn="l"/>
                <a:tab pos="1207262" algn="l"/>
                <a:tab pos="2190496" algn="l"/>
                <a:tab pos="2265172" algn="l"/>
              </a:tabLst>
            </a:pPr>
            <a:r>
              <a:rPr lang="en-US" altLang="zh-CN" dirty="0" smtClean="0"/>
              <a:t>		</a:t>
            </a:r>
            <a:r>
              <a:rPr lang="en-US" altLang="zh-CN" sz="1700" dirty="0" err="1">
                <a:latin typeface="Arial Narrow" pitchFamily="18" charset="0"/>
                <a:cs typeface="Arial Narrow" pitchFamily="18" charset="0"/>
              </a:rPr>
              <a:t>Развитие</a:t>
            </a:r>
            <a:r>
              <a:rPr lang="ru-RU" altLang="zh-CN" sz="1700" dirty="0">
                <a:latin typeface="Arial Narrow" pitchFamily="18" charset="0"/>
                <a:cs typeface="Arial Narrow" pitchFamily="18" charset="0"/>
              </a:rPr>
              <a:t> </a:t>
            </a:r>
            <a:r>
              <a:rPr lang="en-US" altLang="zh-CN" sz="1700" dirty="0" err="1">
                <a:latin typeface="Arial Narrow" pitchFamily="18" charset="0"/>
                <a:cs typeface="Arial Narrow" pitchFamily="18" charset="0"/>
              </a:rPr>
              <a:t>нормативной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latin typeface="Arial Narrow" pitchFamily="18" charset="0"/>
                <a:cs typeface="Arial Narrow" pitchFamily="18" charset="0"/>
              </a:rPr>
              <a:t>базы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latin typeface="Arial Narrow" pitchFamily="18" charset="0"/>
                <a:cs typeface="Arial Narrow" pitchFamily="18" charset="0"/>
              </a:rPr>
              <a:t>для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latin typeface="Arial Narrow" pitchFamily="18" charset="0"/>
                <a:cs typeface="Arial Narrow" pitchFamily="18" charset="0"/>
              </a:rPr>
              <a:t>работников</a:t>
            </a:r>
          </a:p>
          <a:p>
            <a:pPr>
              <a:lnSpc>
                <a:spcPts val="1960"/>
              </a:lnSpc>
              <a:tabLst>
                <a:tab pos="74676" algn="l"/>
                <a:tab pos="1132586" algn="l"/>
                <a:tab pos="1207262" algn="l"/>
                <a:tab pos="2190496" algn="l"/>
                <a:tab pos="2265172" algn="l"/>
              </a:tabLst>
            </a:pPr>
            <a:r>
              <a:rPr lang="en-US" altLang="zh-CN" dirty="0" smtClean="0"/>
              <a:t>			</a:t>
            </a:r>
            <a:r>
              <a:rPr lang="en-US" altLang="zh-CN" sz="1700" dirty="0">
                <a:latin typeface="Arial Narrow" pitchFamily="18" charset="0"/>
                <a:cs typeface="Arial Narrow" pitchFamily="18" charset="0"/>
              </a:rPr>
              <a:t>отраслевых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latin typeface="Arial Narrow" pitchFamily="18" charset="0"/>
                <a:cs typeface="Arial Narrow" pitchFamily="18" charset="0"/>
              </a:rPr>
              <a:t>профессий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744"/>
              </a:lnSpc>
              <a:tabLst>
                <a:tab pos="74676" algn="l"/>
                <a:tab pos="1132586" algn="l"/>
                <a:tab pos="1207262" algn="l"/>
                <a:tab pos="2190496" algn="l"/>
                <a:tab pos="2265172" algn="l"/>
              </a:tabLst>
            </a:pPr>
            <a:r>
              <a:rPr lang="en-US" altLang="zh-CN" sz="1700" dirty="0">
                <a:latin typeface="Arial Narrow" pitchFamily="18" charset="0"/>
                <a:cs typeface="Arial Narrow" pitchFamily="18" charset="0"/>
              </a:rPr>
              <a:t>Восстановление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latin typeface="Arial Narrow" pitchFamily="18" charset="0"/>
                <a:cs typeface="Arial Narrow" pitchFamily="18" charset="0"/>
              </a:rPr>
              <a:t>системы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latin typeface="Arial Narrow" pitchFamily="18" charset="0"/>
                <a:cs typeface="Arial Narrow" pitchFamily="18" charset="0"/>
              </a:rPr>
              <a:t>разработки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latin typeface="Arial Narrow" pitchFamily="18" charset="0"/>
                <a:cs typeface="Arial Narrow" pitchFamily="18" charset="0"/>
              </a:rPr>
              <a:t>нормативных</a:t>
            </a:r>
          </a:p>
          <a:p>
            <a:pPr>
              <a:lnSpc>
                <a:spcPts val="1960"/>
              </a:lnSpc>
              <a:tabLst>
                <a:tab pos="74676" algn="l"/>
                <a:tab pos="1132586" algn="l"/>
                <a:tab pos="1207262" algn="l"/>
                <a:tab pos="2190496" algn="l"/>
                <a:tab pos="2265172" algn="l"/>
              </a:tabLst>
            </a:pPr>
            <a:r>
              <a:rPr lang="en-US" altLang="zh-CN" dirty="0" smtClean="0"/>
              <a:t>	</a:t>
            </a:r>
            <a:r>
              <a:rPr lang="en-US" altLang="zh-CN" sz="1700" dirty="0" err="1">
                <a:latin typeface="Arial Narrow" pitchFamily="18" charset="0"/>
                <a:cs typeface="Arial Narrow" pitchFamily="18" charset="0"/>
              </a:rPr>
              <a:t>материалов</a:t>
            </a:r>
            <a:r>
              <a:rPr lang="ru-RU" altLang="zh-CN" sz="1700" dirty="0">
                <a:latin typeface="Arial Narrow" pitchFamily="18" charset="0"/>
                <a:cs typeface="Arial Narrow" pitchFamily="18" charset="0"/>
              </a:rPr>
              <a:t> </a:t>
            </a:r>
            <a:r>
              <a:rPr lang="en-US" altLang="zh-CN" sz="1700" dirty="0" err="1">
                <a:latin typeface="Arial Narrow" pitchFamily="18" charset="0"/>
                <a:cs typeface="Arial Narrow" pitchFamily="18" charset="0"/>
              </a:rPr>
              <a:t>на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latin typeface="Arial Narrow" pitchFamily="18" charset="0"/>
                <a:cs typeface="Arial Narrow" pitchFamily="18" charset="0"/>
              </a:rPr>
              <a:t>локальном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latin typeface="Arial Narrow" pitchFamily="18" charset="0"/>
                <a:cs typeface="Arial Narrow" pitchFamily="18" charset="0"/>
              </a:rPr>
              <a:t>уровне</a:t>
            </a:r>
          </a:p>
        </p:txBody>
      </p:sp>
    </p:spTree>
    <p:extLst>
      <p:ext uri="{BB962C8B-B14F-4D97-AF65-F5344CB8AC3E}">
        <p14:creationId xmlns:p14="http://schemas.microsoft.com/office/powerpoint/2010/main" val="1446393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1233753" y="2584408"/>
            <a:ext cx="1341166" cy="2822397"/>
          </a:xfrm>
          <a:custGeom>
            <a:avLst/>
            <a:gdLst>
              <a:gd name="connsiteX0" fmla="*/ 0 w 1368488"/>
              <a:gd name="connsiteY0" fmla="*/ 227964 h 2879725"/>
              <a:gd name="connsiteX1" fmla="*/ 228028 w 1368488"/>
              <a:gd name="connsiteY1" fmla="*/ 0 h 2879725"/>
              <a:gd name="connsiteX2" fmla="*/ 228028 w 1368488"/>
              <a:gd name="connsiteY2" fmla="*/ 0 h 2879725"/>
              <a:gd name="connsiteX3" fmla="*/ 228028 w 1368488"/>
              <a:gd name="connsiteY3" fmla="*/ 0 h 2879725"/>
              <a:gd name="connsiteX4" fmla="*/ 1140396 w 1368488"/>
              <a:gd name="connsiteY4" fmla="*/ 0 h 2879725"/>
              <a:gd name="connsiteX5" fmla="*/ 1140396 w 1368488"/>
              <a:gd name="connsiteY5" fmla="*/ 0 h 2879725"/>
              <a:gd name="connsiteX6" fmla="*/ 1368361 w 1368488"/>
              <a:gd name="connsiteY6" fmla="*/ 227964 h 2879725"/>
              <a:gd name="connsiteX7" fmla="*/ 1368361 w 1368488"/>
              <a:gd name="connsiteY7" fmla="*/ 227964 h 2879725"/>
              <a:gd name="connsiteX8" fmla="*/ 1368488 w 1368488"/>
              <a:gd name="connsiteY8" fmla="*/ 227964 h 2879725"/>
              <a:gd name="connsiteX9" fmla="*/ 1368488 w 1368488"/>
              <a:gd name="connsiteY9" fmla="*/ 2651633 h 2879725"/>
              <a:gd name="connsiteX10" fmla="*/ 1368488 w 1368488"/>
              <a:gd name="connsiteY10" fmla="*/ 2651633 h 2879725"/>
              <a:gd name="connsiteX11" fmla="*/ 1140396 w 1368488"/>
              <a:gd name="connsiteY11" fmla="*/ 2879725 h 2879725"/>
              <a:gd name="connsiteX12" fmla="*/ 1140396 w 1368488"/>
              <a:gd name="connsiteY12" fmla="*/ 2879725 h 2879725"/>
              <a:gd name="connsiteX13" fmla="*/ 1140396 w 1368488"/>
              <a:gd name="connsiteY13" fmla="*/ 2879725 h 2879725"/>
              <a:gd name="connsiteX14" fmla="*/ 228028 w 1368488"/>
              <a:gd name="connsiteY14" fmla="*/ 2879725 h 2879725"/>
              <a:gd name="connsiteX15" fmla="*/ 228028 w 1368488"/>
              <a:gd name="connsiteY15" fmla="*/ 2879725 h 2879725"/>
              <a:gd name="connsiteX16" fmla="*/ 0 w 1368488"/>
              <a:gd name="connsiteY16" fmla="*/ 2651633 h 2879725"/>
              <a:gd name="connsiteX17" fmla="*/ 0 w 1368488"/>
              <a:gd name="connsiteY17" fmla="*/ 2651633 h 2879725"/>
              <a:gd name="connsiteX18" fmla="*/ 0 w 1368488"/>
              <a:gd name="connsiteY18" fmla="*/ 227964 h 287972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1368488" h="2879725">
                <a:moveTo>
                  <a:pt x="0" y="227964"/>
                </a:moveTo>
                <a:cubicBezTo>
                  <a:pt x="0" y="102107"/>
                  <a:pt x="102171" y="0"/>
                  <a:pt x="228028" y="0"/>
                </a:cubicBezTo>
                <a:cubicBezTo>
                  <a:pt x="228028" y="0"/>
                  <a:pt x="228028" y="0"/>
                  <a:pt x="228028" y="0"/>
                </a:cubicBezTo>
                <a:lnTo>
                  <a:pt x="228028" y="0"/>
                </a:lnTo>
                <a:lnTo>
                  <a:pt x="1140396" y="0"/>
                </a:lnTo>
                <a:lnTo>
                  <a:pt x="1140396" y="0"/>
                </a:lnTo>
                <a:cubicBezTo>
                  <a:pt x="1266253" y="0"/>
                  <a:pt x="1368488" y="102107"/>
                  <a:pt x="1368361" y="227964"/>
                </a:cubicBezTo>
                <a:cubicBezTo>
                  <a:pt x="1368361" y="227964"/>
                  <a:pt x="1368361" y="227964"/>
                  <a:pt x="1368361" y="227964"/>
                </a:cubicBezTo>
                <a:lnTo>
                  <a:pt x="1368488" y="227964"/>
                </a:lnTo>
                <a:lnTo>
                  <a:pt x="1368488" y="2651633"/>
                </a:lnTo>
                <a:lnTo>
                  <a:pt x="1368488" y="2651633"/>
                </a:lnTo>
                <a:cubicBezTo>
                  <a:pt x="1368488" y="2777489"/>
                  <a:pt x="1266253" y="2879725"/>
                  <a:pt x="1140396" y="2879725"/>
                </a:cubicBezTo>
                <a:cubicBezTo>
                  <a:pt x="1140396" y="2879725"/>
                  <a:pt x="1140396" y="2879725"/>
                  <a:pt x="1140396" y="2879725"/>
                </a:cubicBezTo>
                <a:lnTo>
                  <a:pt x="1140396" y="2879725"/>
                </a:lnTo>
                <a:lnTo>
                  <a:pt x="228028" y="2879725"/>
                </a:lnTo>
                <a:lnTo>
                  <a:pt x="228028" y="2879725"/>
                </a:lnTo>
                <a:cubicBezTo>
                  <a:pt x="102171" y="2879725"/>
                  <a:pt x="0" y="2777489"/>
                  <a:pt x="0" y="2651633"/>
                </a:cubicBezTo>
                <a:cubicBezTo>
                  <a:pt x="0" y="2651633"/>
                  <a:pt x="0" y="2651633"/>
                  <a:pt x="0" y="2651633"/>
                </a:cubicBezTo>
                <a:lnTo>
                  <a:pt x="0" y="227964"/>
                </a:lnTo>
              </a:path>
            </a:pathLst>
          </a:custGeom>
          <a:solidFill>
            <a:srgbClr val="DEDED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1227530" y="2578184"/>
            <a:ext cx="1353612" cy="2834844"/>
          </a:xfrm>
          <a:custGeom>
            <a:avLst/>
            <a:gdLst>
              <a:gd name="connsiteX0" fmla="*/ 6350 w 1381188"/>
              <a:gd name="connsiteY0" fmla="*/ 234314 h 2892425"/>
              <a:gd name="connsiteX1" fmla="*/ 234378 w 1381188"/>
              <a:gd name="connsiteY1" fmla="*/ 6350 h 2892425"/>
              <a:gd name="connsiteX2" fmla="*/ 234378 w 1381188"/>
              <a:gd name="connsiteY2" fmla="*/ 6350 h 2892425"/>
              <a:gd name="connsiteX3" fmla="*/ 234378 w 1381188"/>
              <a:gd name="connsiteY3" fmla="*/ 6350 h 2892425"/>
              <a:gd name="connsiteX4" fmla="*/ 1146746 w 1381188"/>
              <a:gd name="connsiteY4" fmla="*/ 6350 h 2892425"/>
              <a:gd name="connsiteX5" fmla="*/ 1146746 w 1381188"/>
              <a:gd name="connsiteY5" fmla="*/ 6350 h 2892425"/>
              <a:gd name="connsiteX6" fmla="*/ 1374711 w 1381188"/>
              <a:gd name="connsiteY6" fmla="*/ 234314 h 2892425"/>
              <a:gd name="connsiteX7" fmla="*/ 1374711 w 1381188"/>
              <a:gd name="connsiteY7" fmla="*/ 234314 h 2892425"/>
              <a:gd name="connsiteX8" fmla="*/ 1374838 w 1381188"/>
              <a:gd name="connsiteY8" fmla="*/ 234314 h 2892425"/>
              <a:gd name="connsiteX9" fmla="*/ 1374838 w 1381188"/>
              <a:gd name="connsiteY9" fmla="*/ 2657983 h 2892425"/>
              <a:gd name="connsiteX10" fmla="*/ 1374838 w 1381188"/>
              <a:gd name="connsiteY10" fmla="*/ 2657983 h 2892425"/>
              <a:gd name="connsiteX11" fmla="*/ 1146746 w 1381188"/>
              <a:gd name="connsiteY11" fmla="*/ 2886075 h 2892425"/>
              <a:gd name="connsiteX12" fmla="*/ 1146746 w 1381188"/>
              <a:gd name="connsiteY12" fmla="*/ 2886075 h 2892425"/>
              <a:gd name="connsiteX13" fmla="*/ 1146746 w 1381188"/>
              <a:gd name="connsiteY13" fmla="*/ 2886075 h 2892425"/>
              <a:gd name="connsiteX14" fmla="*/ 234378 w 1381188"/>
              <a:gd name="connsiteY14" fmla="*/ 2886075 h 2892425"/>
              <a:gd name="connsiteX15" fmla="*/ 234378 w 1381188"/>
              <a:gd name="connsiteY15" fmla="*/ 2886075 h 2892425"/>
              <a:gd name="connsiteX16" fmla="*/ 6350 w 1381188"/>
              <a:gd name="connsiteY16" fmla="*/ 2657983 h 2892425"/>
              <a:gd name="connsiteX17" fmla="*/ 6350 w 1381188"/>
              <a:gd name="connsiteY17" fmla="*/ 2657983 h 2892425"/>
              <a:gd name="connsiteX18" fmla="*/ 6350 w 1381188"/>
              <a:gd name="connsiteY18" fmla="*/ 234314 h 289242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1381188" h="2892425">
                <a:moveTo>
                  <a:pt x="6350" y="234314"/>
                </a:moveTo>
                <a:cubicBezTo>
                  <a:pt x="6350" y="108457"/>
                  <a:pt x="108521" y="6350"/>
                  <a:pt x="234378" y="6350"/>
                </a:cubicBezTo>
                <a:cubicBezTo>
                  <a:pt x="234378" y="6350"/>
                  <a:pt x="234378" y="6350"/>
                  <a:pt x="234378" y="6350"/>
                </a:cubicBezTo>
                <a:lnTo>
                  <a:pt x="234378" y="6350"/>
                </a:lnTo>
                <a:lnTo>
                  <a:pt x="1146746" y="6350"/>
                </a:lnTo>
                <a:lnTo>
                  <a:pt x="1146746" y="6350"/>
                </a:lnTo>
                <a:cubicBezTo>
                  <a:pt x="1272603" y="6350"/>
                  <a:pt x="1374838" y="108457"/>
                  <a:pt x="1374711" y="234314"/>
                </a:cubicBezTo>
                <a:cubicBezTo>
                  <a:pt x="1374711" y="234314"/>
                  <a:pt x="1374711" y="234314"/>
                  <a:pt x="1374711" y="234314"/>
                </a:cubicBezTo>
                <a:lnTo>
                  <a:pt x="1374838" y="234314"/>
                </a:lnTo>
                <a:lnTo>
                  <a:pt x="1374838" y="2657983"/>
                </a:lnTo>
                <a:lnTo>
                  <a:pt x="1374838" y="2657983"/>
                </a:lnTo>
                <a:cubicBezTo>
                  <a:pt x="1374838" y="2783839"/>
                  <a:pt x="1272603" y="2886075"/>
                  <a:pt x="1146746" y="2886075"/>
                </a:cubicBezTo>
                <a:cubicBezTo>
                  <a:pt x="1146746" y="2886075"/>
                  <a:pt x="1146746" y="2886075"/>
                  <a:pt x="1146746" y="2886075"/>
                </a:cubicBezTo>
                <a:lnTo>
                  <a:pt x="1146746" y="2886075"/>
                </a:lnTo>
                <a:lnTo>
                  <a:pt x="234378" y="2886075"/>
                </a:lnTo>
                <a:lnTo>
                  <a:pt x="234378" y="2886075"/>
                </a:lnTo>
                <a:cubicBezTo>
                  <a:pt x="108521" y="2886075"/>
                  <a:pt x="6350" y="2783839"/>
                  <a:pt x="6350" y="2657983"/>
                </a:cubicBezTo>
                <a:cubicBezTo>
                  <a:pt x="6350" y="2657983"/>
                  <a:pt x="6350" y="2657983"/>
                  <a:pt x="6350" y="2657983"/>
                </a:cubicBezTo>
                <a:lnTo>
                  <a:pt x="6350" y="23431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7" name="Freeform 3"/>
          <p:cNvSpPr/>
          <p:nvPr/>
        </p:nvSpPr>
        <p:spPr>
          <a:xfrm>
            <a:off x="2080174" y="1173146"/>
            <a:ext cx="4516439" cy="858855"/>
          </a:xfrm>
          <a:custGeom>
            <a:avLst/>
            <a:gdLst>
              <a:gd name="connsiteX0" fmla="*/ 0 w 4608448"/>
              <a:gd name="connsiteY0" fmla="*/ 146050 h 876300"/>
              <a:gd name="connsiteX1" fmla="*/ 146050 w 4608448"/>
              <a:gd name="connsiteY1" fmla="*/ 0 h 876300"/>
              <a:gd name="connsiteX2" fmla="*/ 146050 w 4608448"/>
              <a:gd name="connsiteY2" fmla="*/ 0 h 876300"/>
              <a:gd name="connsiteX3" fmla="*/ 146050 w 4608448"/>
              <a:gd name="connsiteY3" fmla="*/ 0 h 876300"/>
              <a:gd name="connsiteX4" fmla="*/ 4462398 w 4608448"/>
              <a:gd name="connsiteY4" fmla="*/ 0 h 876300"/>
              <a:gd name="connsiteX5" fmla="*/ 4462398 w 4608448"/>
              <a:gd name="connsiteY5" fmla="*/ 0 h 876300"/>
              <a:gd name="connsiteX6" fmla="*/ 4608448 w 4608448"/>
              <a:gd name="connsiteY6" fmla="*/ 146050 h 876300"/>
              <a:gd name="connsiteX7" fmla="*/ 4608448 w 4608448"/>
              <a:gd name="connsiteY7" fmla="*/ 146050 h 876300"/>
              <a:gd name="connsiteX8" fmla="*/ 4608448 w 4608448"/>
              <a:gd name="connsiteY8" fmla="*/ 146050 h 876300"/>
              <a:gd name="connsiteX9" fmla="*/ 4608448 w 4608448"/>
              <a:gd name="connsiteY9" fmla="*/ 730250 h 876300"/>
              <a:gd name="connsiteX10" fmla="*/ 4608448 w 4608448"/>
              <a:gd name="connsiteY10" fmla="*/ 730250 h 876300"/>
              <a:gd name="connsiteX11" fmla="*/ 4462398 w 4608448"/>
              <a:gd name="connsiteY11" fmla="*/ 876300 h 876300"/>
              <a:gd name="connsiteX12" fmla="*/ 4462398 w 4608448"/>
              <a:gd name="connsiteY12" fmla="*/ 876300 h 876300"/>
              <a:gd name="connsiteX13" fmla="*/ 4462398 w 4608448"/>
              <a:gd name="connsiteY13" fmla="*/ 876300 h 876300"/>
              <a:gd name="connsiteX14" fmla="*/ 146050 w 4608448"/>
              <a:gd name="connsiteY14" fmla="*/ 876300 h 876300"/>
              <a:gd name="connsiteX15" fmla="*/ 146050 w 4608448"/>
              <a:gd name="connsiteY15" fmla="*/ 876300 h 876300"/>
              <a:gd name="connsiteX16" fmla="*/ 0 w 4608448"/>
              <a:gd name="connsiteY16" fmla="*/ 730250 h 876300"/>
              <a:gd name="connsiteX17" fmla="*/ 0 w 4608448"/>
              <a:gd name="connsiteY17" fmla="*/ 730250 h 876300"/>
              <a:gd name="connsiteX18" fmla="*/ 0 w 4608448"/>
              <a:gd name="connsiteY18" fmla="*/ 146050 h 8763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4608448" h="876300">
                <a:moveTo>
                  <a:pt x="0" y="146050"/>
                </a:moveTo>
                <a:cubicBezTo>
                  <a:pt x="0" y="65405"/>
                  <a:pt x="65277" y="0"/>
                  <a:pt x="146050" y="0"/>
                </a:cubicBezTo>
                <a:cubicBezTo>
                  <a:pt x="146050" y="0"/>
                  <a:pt x="146050" y="0"/>
                  <a:pt x="146050" y="0"/>
                </a:cubicBezTo>
                <a:lnTo>
                  <a:pt x="146050" y="0"/>
                </a:lnTo>
                <a:lnTo>
                  <a:pt x="4462398" y="0"/>
                </a:lnTo>
                <a:lnTo>
                  <a:pt x="4462398" y="0"/>
                </a:lnTo>
                <a:cubicBezTo>
                  <a:pt x="4543043" y="0"/>
                  <a:pt x="4608448" y="65405"/>
                  <a:pt x="4608448" y="146050"/>
                </a:cubicBezTo>
                <a:cubicBezTo>
                  <a:pt x="4608448" y="146050"/>
                  <a:pt x="4608448" y="146050"/>
                  <a:pt x="4608448" y="146050"/>
                </a:cubicBezTo>
                <a:lnTo>
                  <a:pt x="4608448" y="146050"/>
                </a:lnTo>
                <a:lnTo>
                  <a:pt x="4608448" y="730250"/>
                </a:lnTo>
                <a:lnTo>
                  <a:pt x="4608448" y="730250"/>
                </a:lnTo>
                <a:cubicBezTo>
                  <a:pt x="4608448" y="810895"/>
                  <a:pt x="4543043" y="876300"/>
                  <a:pt x="4462398" y="876300"/>
                </a:cubicBezTo>
                <a:cubicBezTo>
                  <a:pt x="4462398" y="876300"/>
                  <a:pt x="4462398" y="876300"/>
                  <a:pt x="4462398" y="876300"/>
                </a:cubicBezTo>
                <a:lnTo>
                  <a:pt x="4462398" y="876300"/>
                </a:lnTo>
                <a:lnTo>
                  <a:pt x="146050" y="876300"/>
                </a:lnTo>
                <a:lnTo>
                  <a:pt x="146050" y="876300"/>
                </a:lnTo>
                <a:cubicBezTo>
                  <a:pt x="65277" y="876300"/>
                  <a:pt x="0" y="810895"/>
                  <a:pt x="0" y="730250"/>
                </a:cubicBezTo>
                <a:cubicBezTo>
                  <a:pt x="0" y="730250"/>
                  <a:pt x="0" y="730250"/>
                  <a:pt x="0" y="730250"/>
                </a:cubicBezTo>
                <a:lnTo>
                  <a:pt x="0" y="146050"/>
                </a:lnTo>
              </a:path>
            </a:pathLst>
          </a:custGeom>
          <a:solidFill>
            <a:srgbClr val="DEDED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8" name="Freeform 3"/>
          <p:cNvSpPr/>
          <p:nvPr/>
        </p:nvSpPr>
        <p:spPr>
          <a:xfrm>
            <a:off x="2080174" y="2019555"/>
            <a:ext cx="211590" cy="564852"/>
          </a:xfrm>
          <a:custGeom>
            <a:avLst/>
            <a:gdLst>
              <a:gd name="connsiteX0" fmla="*/ 0 w 215900"/>
              <a:gd name="connsiteY0" fmla="*/ 333882 h 576325"/>
              <a:gd name="connsiteX1" fmla="*/ 54863 w 215900"/>
              <a:gd name="connsiteY1" fmla="*/ 333882 h 576325"/>
              <a:gd name="connsiteX2" fmla="*/ 54863 w 215900"/>
              <a:gd name="connsiteY2" fmla="*/ 0 h 576325"/>
              <a:gd name="connsiteX3" fmla="*/ 160908 w 215900"/>
              <a:gd name="connsiteY3" fmla="*/ 0 h 576325"/>
              <a:gd name="connsiteX4" fmla="*/ 160908 w 215900"/>
              <a:gd name="connsiteY4" fmla="*/ 333882 h 576325"/>
              <a:gd name="connsiteX5" fmla="*/ 215900 w 215900"/>
              <a:gd name="connsiteY5" fmla="*/ 333882 h 576325"/>
              <a:gd name="connsiteX6" fmla="*/ 107950 w 215900"/>
              <a:gd name="connsiteY6" fmla="*/ 576326 h 576325"/>
              <a:gd name="connsiteX7" fmla="*/ 0 w 215900"/>
              <a:gd name="connsiteY7" fmla="*/ 333882 h 57632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215900" h="576325">
                <a:moveTo>
                  <a:pt x="0" y="333882"/>
                </a:moveTo>
                <a:lnTo>
                  <a:pt x="54863" y="333882"/>
                </a:lnTo>
                <a:lnTo>
                  <a:pt x="54863" y="0"/>
                </a:lnTo>
                <a:lnTo>
                  <a:pt x="160908" y="0"/>
                </a:lnTo>
                <a:lnTo>
                  <a:pt x="160908" y="333882"/>
                </a:lnTo>
                <a:lnTo>
                  <a:pt x="215900" y="333882"/>
                </a:lnTo>
                <a:lnTo>
                  <a:pt x="107950" y="576326"/>
                </a:lnTo>
                <a:lnTo>
                  <a:pt x="0" y="333882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9" name="Freeform 3"/>
          <p:cNvSpPr/>
          <p:nvPr/>
        </p:nvSpPr>
        <p:spPr>
          <a:xfrm>
            <a:off x="2073951" y="2013331"/>
            <a:ext cx="224036" cy="577299"/>
          </a:xfrm>
          <a:custGeom>
            <a:avLst/>
            <a:gdLst>
              <a:gd name="connsiteX0" fmla="*/ 6350 w 228600"/>
              <a:gd name="connsiteY0" fmla="*/ 340232 h 589025"/>
              <a:gd name="connsiteX1" fmla="*/ 61213 w 228600"/>
              <a:gd name="connsiteY1" fmla="*/ 340232 h 589025"/>
              <a:gd name="connsiteX2" fmla="*/ 61213 w 228600"/>
              <a:gd name="connsiteY2" fmla="*/ 6350 h 589025"/>
              <a:gd name="connsiteX3" fmla="*/ 167258 w 228600"/>
              <a:gd name="connsiteY3" fmla="*/ 6350 h 589025"/>
              <a:gd name="connsiteX4" fmla="*/ 167258 w 228600"/>
              <a:gd name="connsiteY4" fmla="*/ 340232 h 589025"/>
              <a:gd name="connsiteX5" fmla="*/ 222250 w 228600"/>
              <a:gd name="connsiteY5" fmla="*/ 340232 h 589025"/>
              <a:gd name="connsiteX6" fmla="*/ 114300 w 228600"/>
              <a:gd name="connsiteY6" fmla="*/ 582676 h 589025"/>
              <a:gd name="connsiteX7" fmla="*/ 6350 w 228600"/>
              <a:gd name="connsiteY7" fmla="*/ 340232 h 58902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228600" h="589025">
                <a:moveTo>
                  <a:pt x="6350" y="340232"/>
                </a:moveTo>
                <a:lnTo>
                  <a:pt x="61213" y="340232"/>
                </a:lnTo>
                <a:lnTo>
                  <a:pt x="61213" y="6350"/>
                </a:lnTo>
                <a:lnTo>
                  <a:pt x="167258" y="6350"/>
                </a:lnTo>
                <a:lnTo>
                  <a:pt x="167258" y="340232"/>
                </a:lnTo>
                <a:lnTo>
                  <a:pt x="222250" y="340232"/>
                </a:lnTo>
                <a:lnTo>
                  <a:pt x="114300" y="582676"/>
                </a:lnTo>
                <a:lnTo>
                  <a:pt x="6350" y="340232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" name="Freeform 3"/>
          <p:cNvSpPr/>
          <p:nvPr/>
        </p:nvSpPr>
        <p:spPr>
          <a:xfrm>
            <a:off x="2574920" y="2725932"/>
            <a:ext cx="172631" cy="211602"/>
          </a:xfrm>
          <a:custGeom>
            <a:avLst/>
            <a:gdLst>
              <a:gd name="connsiteX0" fmla="*/ 0 w 176148"/>
              <a:gd name="connsiteY0" fmla="*/ 0 h 215900"/>
              <a:gd name="connsiteX1" fmla="*/ 107569 w 176148"/>
              <a:gd name="connsiteY1" fmla="*/ 0 h 215900"/>
              <a:gd name="connsiteX2" fmla="*/ 176148 w 176148"/>
              <a:gd name="connsiteY2" fmla="*/ 107950 h 215900"/>
              <a:gd name="connsiteX3" fmla="*/ 107569 w 176148"/>
              <a:gd name="connsiteY3" fmla="*/ 215900 h 215900"/>
              <a:gd name="connsiteX4" fmla="*/ 0 w 176148"/>
              <a:gd name="connsiteY4" fmla="*/ 215900 h 215900"/>
              <a:gd name="connsiteX5" fmla="*/ 68452 w 176148"/>
              <a:gd name="connsiteY5" fmla="*/ 107950 h 215900"/>
              <a:gd name="connsiteX6" fmla="*/ 0 w 176148"/>
              <a:gd name="connsiteY6" fmla="*/ 0 h 2159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176148" h="215900">
                <a:moveTo>
                  <a:pt x="0" y="0"/>
                </a:moveTo>
                <a:lnTo>
                  <a:pt x="107569" y="0"/>
                </a:lnTo>
                <a:lnTo>
                  <a:pt x="176148" y="107950"/>
                </a:lnTo>
                <a:lnTo>
                  <a:pt x="107569" y="215900"/>
                </a:lnTo>
                <a:lnTo>
                  <a:pt x="0" y="215900"/>
                </a:lnTo>
                <a:lnTo>
                  <a:pt x="68452" y="107950"/>
                </a:lnTo>
                <a:lnTo>
                  <a:pt x="0" y="0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" name="Freeform 3"/>
          <p:cNvSpPr/>
          <p:nvPr/>
        </p:nvSpPr>
        <p:spPr>
          <a:xfrm>
            <a:off x="2568696" y="2719708"/>
            <a:ext cx="185078" cy="224049"/>
          </a:xfrm>
          <a:custGeom>
            <a:avLst/>
            <a:gdLst>
              <a:gd name="connsiteX0" fmla="*/ 6350 w 188848"/>
              <a:gd name="connsiteY0" fmla="*/ 6350 h 228600"/>
              <a:gd name="connsiteX1" fmla="*/ 113919 w 188848"/>
              <a:gd name="connsiteY1" fmla="*/ 6350 h 228600"/>
              <a:gd name="connsiteX2" fmla="*/ 182498 w 188848"/>
              <a:gd name="connsiteY2" fmla="*/ 114300 h 228600"/>
              <a:gd name="connsiteX3" fmla="*/ 113919 w 188848"/>
              <a:gd name="connsiteY3" fmla="*/ 222250 h 228600"/>
              <a:gd name="connsiteX4" fmla="*/ 6350 w 188848"/>
              <a:gd name="connsiteY4" fmla="*/ 222250 h 228600"/>
              <a:gd name="connsiteX5" fmla="*/ 74802 w 188848"/>
              <a:gd name="connsiteY5" fmla="*/ 114300 h 228600"/>
              <a:gd name="connsiteX6" fmla="*/ 6350 w 188848"/>
              <a:gd name="connsiteY6" fmla="*/ 6350 h 2286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188848" h="228600">
                <a:moveTo>
                  <a:pt x="6350" y="6350"/>
                </a:moveTo>
                <a:lnTo>
                  <a:pt x="113919" y="6350"/>
                </a:lnTo>
                <a:lnTo>
                  <a:pt x="182498" y="114300"/>
                </a:lnTo>
                <a:lnTo>
                  <a:pt x="113919" y="222250"/>
                </a:lnTo>
                <a:lnTo>
                  <a:pt x="6350" y="222250"/>
                </a:lnTo>
                <a:lnTo>
                  <a:pt x="74802" y="114300"/>
                </a:lnTo>
                <a:lnTo>
                  <a:pt x="6350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2" name="Freeform 3"/>
          <p:cNvSpPr/>
          <p:nvPr/>
        </p:nvSpPr>
        <p:spPr>
          <a:xfrm>
            <a:off x="2895416" y="2725932"/>
            <a:ext cx="172631" cy="211602"/>
          </a:xfrm>
          <a:custGeom>
            <a:avLst/>
            <a:gdLst>
              <a:gd name="connsiteX0" fmla="*/ 0 w 176148"/>
              <a:gd name="connsiteY0" fmla="*/ 0 h 215900"/>
              <a:gd name="connsiteX1" fmla="*/ 107569 w 176148"/>
              <a:gd name="connsiteY1" fmla="*/ 0 h 215900"/>
              <a:gd name="connsiteX2" fmla="*/ 176148 w 176148"/>
              <a:gd name="connsiteY2" fmla="*/ 107950 h 215900"/>
              <a:gd name="connsiteX3" fmla="*/ 107569 w 176148"/>
              <a:gd name="connsiteY3" fmla="*/ 215900 h 215900"/>
              <a:gd name="connsiteX4" fmla="*/ 0 w 176148"/>
              <a:gd name="connsiteY4" fmla="*/ 215900 h 215900"/>
              <a:gd name="connsiteX5" fmla="*/ 68579 w 176148"/>
              <a:gd name="connsiteY5" fmla="*/ 107950 h 215900"/>
              <a:gd name="connsiteX6" fmla="*/ 0 w 176148"/>
              <a:gd name="connsiteY6" fmla="*/ 0 h 2159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176148" h="215900">
                <a:moveTo>
                  <a:pt x="0" y="0"/>
                </a:moveTo>
                <a:lnTo>
                  <a:pt x="107569" y="0"/>
                </a:lnTo>
                <a:lnTo>
                  <a:pt x="176148" y="107950"/>
                </a:lnTo>
                <a:lnTo>
                  <a:pt x="107569" y="215900"/>
                </a:lnTo>
                <a:lnTo>
                  <a:pt x="0" y="215900"/>
                </a:lnTo>
                <a:lnTo>
                  <a:pt x="68579" y="107950"/>
                </a:lnTo>
                <a:lnTo>
                  <a:pt x="0" y="0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3" name="Freeform 3"/>
          <p:cNvSpPr/>
          <p:nvPr/>
        </p:nvSpPr>
        <p:spPr>
          <a:xfrm>
            <a:off x="2889192" y="2719708"/>
            <a:ext cx="185078" cy="224049"/>
          </a:xfrm>
          <a:custGeom>
            <a:avLst/>
            <a:gdLst>
              <a:gd name="connsiteX0" fmla="*/ 6350 w 188848"/>
              <a:gd name="connsiteY0" fmla="*/ 6350 h 228600"/>
              <a:gd name="connsiteX1" fmla="*/ 113919 w 188848"/>
              <a:gd name="connsiteY1" fmla="*/ 6350 h 228600"/>
              <a:gd name="connsiteX2" fmla="*/ 182498 w 188848"/>
              <a:gd name="connsiteY2" fmla="*/ 114300 h 228600"/>
              <a:gd name="connsiteX3" fmla="*/ 113919 w 188848"/>
              <a:gd name="connsiteY3" fmla="*/ 222250 h 228600"/>
              <a:gd name="connsiteX4" fmla="*/ 6350 w 188848"/>
              <a:gd name="connsiteY4" fmla="*/ 222250 h 228600"/>
              <a:gd name="connsiteX5" fmla="*/ 74929 w 188848"/>
              <a:gd name="connsiteY5" fmla="*/ 114300 h 228600"/>
              <a:gd name="connsiteX6" fmla="*/ 6350 w 188848"/>
              <a:gd name="connsiteY6" fmla="*/ 6350 h 2286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188848" h="228600">
                <a:moveTo>
                  <a:pt x="6350" y="6350"/>
                </a:moveTo>
                <a:lnTo>
                  <a:pt x="113919" y="6350"/>
                </a:lnTo>
                <a:lnTo>
                  <a:pt x="182498" y="114300"/>
                </a:lnTo>
                <a:lnTo>
                  <a:pt x="113919" y="222250"/>
                </a:lnTo>
                <a:lnTo>
                  <a:pt x="6350" y="222250"/>
                </a:lnTo>
                <a:lnTo>
                  <a:pt x="74929" y="114300"/>
                </a:lnTo>
                <a:lnTo>
                  <a:pt x="6350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4" name="Freeform 3"/>
          <p:cNvSpPr/>
          <p:nvPr/>
        </p:nvSpPr>
        <p:spPr>
          <a:xfrm>
            <a:off x="2735230" y="2725932"/>
            <a:ext cx="172632" cy="211602"/>
          </a:xfrm>
          <a:custGeom>
            <a:avLst/>
            <a:gdLst>
              <a:gd name="connsiteX0" fmla="*/ 0 w 176149"/>
              <a:gd name="connsiteY0" fmla="*/ 0 h 215900"/>
              <a:gd name="connsiteX1" fmla="*/ 107696 w 176149"/>
              <a:gd name="connsiteY1" fmla="*/ 0 h 215900"/>
              <a:gd name="connsiteX2" fmla="*/ 176149 w 176149"/>
              <a:gd name="connsiteY2" fmla="*/ 107950 h 215900"/>
              <a:gd name="connsiteX3" fmla="*/ 107696 w 176149"/>
              <a:gd name="connsiteY3" fmla="*/ 215900 h 215900"/>
              <a:gd name="connsiteX4" fmla="*/ 0 w 176149"/>
              <a:gd name="connsiteY4" fmla="*/ 215900 h 215900"/>
              <a:gd name="connsiteX5" fmla="*/ 68580 w 176149"/>
              <a:gd name="connsiteY5" fmla="*/ 107950 h 215900"/>
              <a:gd name="connsiteX6" fmla="*/ 0 w 176149"/>
              <a:gd name="connsiteY6" fmla="*/ 0 h 2159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176149" h="215900">
                <a:moveTo>
                  <a:pt x="0" y="0"/>
                </a:moveTo>
                <a:lnTo>
                  <a:pt x="107696" y="0"/>
                </a:lnTo>
                <a:lnTo>
                  <a:pt x="176149" y="107950"/>
                </a:lnTo>
                <a:lnTo>
                  <a:pt x="107696" y="215900"/>
                </a:lnTo>
                <a:lnTo>
                  <a:pt x="0" y="215900"/>
                </a:lnTo>
                <a:lnTo>
                  <a:pt x="68580" y="107950"/>
                </a:lnTo>
                <a:lnTo>
                  <a:pt x="0" y="0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5" name="Freeform 3"/>
          <p:cNvSpPr/>
          <p:nvPr/>
        </p:nvSpPr>
        <p:spPr>
          <a:xfrm>
            <a:off x="2729006" y="2719708"/>
            <a:ext cx="185079" cy="224049"/>
          </a:xfrm>
          <a:custGeom>
            <a:avLst/>
            <a:gdLst>
              <a:gd name="connsiteX0" fmla="*/ 6350 w 188849"/>
              <a:gd name="connsiteY0" fmla="*/ 6350 h 228600"/>
              <a:gd name="connsiteX1" fmla="*/ 114046 w 188849"/>
              <a:gd name="connsiteY1" fmla="*/ 6350 h 228600"/>
              <a:gd name="connsiteX2" fmla="*/ 182499 w 188849"/>
              <a:gd name="connsiteY2" fmla="*/ 114300 h 228600"/>
              <a:gd name="connsiteX3" fmla="*/ 114046 w 188849"/>
              <a:gd name="connsiteY3" fmla="*/ 222250 h 228600"/>
              <a:gd name="connsiteX4" fmla="*/ 6350 w 188849"/>
              <a:gd name="connsiteY4" fmla="*/ 222250 h 228600"/>
              <a:gd name="connsiteX5" fmla="*/ 74930 w 188849"/>
              <a:gd name="connsiteY5" fmla="*/ 114300 h 228600"/>
              <a:gd name="connsiteX6" fmla="*/ 6350 w 188849"/>
              <a:gd name="connsiteY6" fmla="*/ 6350 h 2286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188849" h="228600">
                <a:moveTo>
                  <a:pt x="6350" y="6350"/>
                </a:moveTo>
                <a:lnTo>
                  <a:pt x="114046" y="6350"/>
                </a:lnTo>
                <a:lnTo>
                  <a:pt x="182499" y="114300"/>
                </a:lnTo>
                <a:lnTo>
                  <a:pt x="114046" y="222250"/>
                </a:lnTo>
                <a:lnTo>
                  <a:pt x="6350" y="222250"/>
                </a:lnTo>
                <a:lnTo>
                  <a:pt x="74930" y="114300"/>
                </a:lnTo>
                <a:lnTo>
                  <a:pt x="6350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6" name="Freeform 3"/>
          <p:cNvSpPr/>
          <p:nvPr/>
        </p:nvSpPr>
        <p:spPr>
          <a:xfrm>
            <a:off x="3068048" y="2584407"/>
            <a:ext cx="1129515" cy="423080"/>
          </a:xfrm>
          <a:custGeom>
            <a:avLst/>
            <a:gdLst>
              <a:gd name="connsiteX0" fmla="*/ 0 w 1152525"/>
              <a:gd name="connsiteY0" fmla="*/ 71881 h 431673"/>
              <a:gd name="connsiteX1" fmla="*/ 72008 w 1152525"/>
              <a:gd name="connsiteY1" fmla="*/ 0 h 431673"/>
              <a:gd name="connsiteX2" fmla="*/ 72008 w 1152525"/>
              <a:gd name="connsiteY2" fmla="*/ 0 h 431673"/>
              <a:gd name="connsiteX3" fmla="*/ 72008 w 1152525"/>
              <a:gd name="connsiteY3" fmla="*/ 0 h 431673"/>
              <a:gd name="connsiteX4" fmla="*/ 1080515 w 1152525"/>
              <a:gd name="connsiteY4" fmla="*/ 0 h 431673"/>
              <a:gd name="connsiteX5" fmla="*/ 1080515 w 1152525"/>
              <a:gd name="connsiteY5" fmla="*/ 0 h 431673"/>
              <a:gd name="connsiteX6" fmla="*/ 1152525 w 1152525"/>
              <a:gd name="connsiteY6" fmla="*/ 71881 h 431673"/>
              <a:gd name="connsiteX7" fmla="*/ 1152525 w 1152525"/>
              <a:gd name="connsiteY7" fmla="*/ 71881 h 431673"/>
              <a:gd name="connsiteX8" fmla="*/ 1152525 w 1152525"/>
              <a:gd name="connsiteY8" fmla="*/ 71881 h 431673"/>
              <a:gd name="connsiteX9" fmla="*/ 1152525 w 1152525"/>
              <a:gd name="connsiteY9" fmla="*/ 359791 h 431673"/>
              <a:gd name="connsiteX10" fmla="*/ 1152525 w 1152525"/>
              <a:gd name="connsiteY10" fmla="*/ 359791 h 431673"/>
              <a:gd name="connsiteX11" fmla="*/ 1080515 w 1152525"/>
              <a:gd name="connsiteY11" fmla="*/ 431672 h 431673"/>
              <a:gd name="connsiteX12" fmla="*/ 1080515 w 1152525"/>
              <a:gd name="connsiteY12" fmla="*/ 431672 h 431673"/>
              <a:gd name="connsiteX13" fmla="*/ 1080515 w 1152525"/>
              <a:gd name="connsiteY13" fmla="*/ 431672 h 431673"/>
              <a:gd name="connsiteX14" fmla="*/ 72008 w 1152525"/>
              <a:gd name="connsiteY14" fmla="*/ 431672 h 431673"/>
              <a:gd name="connsiteX15" fmla="*/ 72008 w 1152525"/>
              <a:gd name="connsiteY15" fmla="*/ 431672 h 431673"/>
              <a:gd name="connsiteX16" fmla="*/ 0 w 1152525"/>
              <a:gd name="connsiteY16" fmla="*/ 359791 h 431673"/>
              <a:gd name="connsiteX17" fmla="*/ 0 w 1152525"/>
              <a:gd name="connsiteY17" fmla="*/ 359791 h 431673"/>
              <a:gd name="connsiteX18" fmla="*/ 0 w 1152525"/>
              <a:gd name="connsiteY18" fmla="*/ 71881 h 4316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1152525" h="431673">
                <a:moveTo>
                  <a:pt x="0" y="71881"/>
                </a:moveTo>
                <a:cubicBezTo>
                  <a:pt x="0" y="32130"/>
                  <a:pt x="32257" y="0"/>
                  <a:pt x="72008" y="0"/>
                </a:cubicBezTo>
                <a:cubicBezTo>
                  <a:pt x="72008" y="0"/>
                  <a:pt x="72008" y="0"/>
                  <a:pt x="72008" y="0"/>
                </a:cubicBezTo>
                <a:lnTo>
                  <a:pt x="72008" y="0"/>
                </a:lnTo>
                <a:lnTo>
                  <a:pt x="1080515" y="0"/>
                </a:lnTo>
                <a:lnTo>
                  <a:pt x="1080515" y="0"/>
                </a:lnTo>
                <a:cubicBezTo>
                  <a:pt x="1120266" y="0"/>
                  <a:pt x="1152525" y="32130"/>
                  <a:pt x="1152525" y="71881"/>
                </a:cubicBezTo>
                <a:cubicBezTo>
                  <a:pt x="1152525" y="71881"/>
                  <a:pt x="1152525" y="71881"/>
                  <a:pt x="1152525" y="71881"/>
                </a:cubicBezTo>
                <a:lnTo>
                  <a:pt x="1152525" y="71881"/>
                </a:lnTo>
                <a:lnTo>
                  <a:pt x="1152525" y="359791"/>
                </a:lnTo>
                <a:lnTo>
                  <a:pt x="1152525" y="359791"/>
                </a:lnTo>
                <a:cubicBezTo>
                  <a:pt x="1152525" y="399541"/>
                  <a:pt x="1120266" y="431672"/>
                  <a:pt x="1080515" y="431672"/>
                </a:cubicBezTo>
                <a:cubicBezTo>
                  <a:pt x="1080515" y="431672"/>
                  <a:pt x="1080515" y="431672"/>
                  <a:pt x="1080515" y="431672"/>
                </a:cubicBezTo>
                <a:lnTo>
                  <a:pt x="1080515" y="431672"/>
                </a:lnTo>
                <a:lnTo>
                  <a:pt x="72008" y="431672"/>
                </a:lnTo>
                <a:lnTo>
                  <a:pt x="72008" y="431672"/>
                </a:lnTo>
                <a:cubicBezTo>
                  <a:pt x="32257" y="431672"/>
                  <a:pt x="0" y="399541"/>
                  <a:pt x="0" y="359791"/>
                </a:cubicBezTo>
                <a:cubicBezTo>
                  <a:pt x="0" y="359791"/>
                  <a:pt x="0" y="359791"/>
                  <a:pt x="0" y="359791"/>
                </a:cubicBezTo>
                <a:lnTo>
                  <a:pt x="0" y="71881"/>
                </a:lnTo>
              </a:path>
            </a:pathLst>
          </a:custGeom>
          <a:solidFill>
            <a:srgbClr val="DEDED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7" name="Freeform 3"/>
          <p:cNvSpPr/>
          <p:nvPr/>
        </p:nvSpPr>
        <p:spPr>
          <a:xfrm>
            <a:off x="3061825" y="2578184"/>
            <a:ext cx="1141961" cy="435527"/>
          </a:xfrm>
          <a:custGeom>
            <a:avLst/>
            <a:gdLst>
              <a:gd name="connsiteX0" fmla="*/ 6350 w 1165225"/>
              <a:gd name="connsiteY0" fmla="*/ 78231 h 444373"/>
              <a:gd name="connsiteX1" fmla="*/ 78358 w 1165225"/>
              <a:gd name="connsiteY1" fmla="*/ 6350 h 444373"/>
              <a:gd name="connsiteX2" fmla="*/ 78358 w 1165225"/>
              <a:gd name="connsiteY2" fmla="*/ 6350 h 444373"/>
              <a:gd name="connsiteX3" fmla="*/ 78358 w 1165225"/>
              <a:gd name="connsiteY3" fmla="*/ 6350 h 444373"/>
              <a:gd name="connsiteX4" fmla="*/ 1086865 w 1165225"/>
              <a:gd name="connsiteY4" fmla="*/ 6350 h 444373"/>
              <a:gd name="connsiteX5" fmla="*/ 1086865 w 1165225"/>
              <a:gd name="connsiteY5" fmla="*/ 6350 h 444373"/>
              <a:gd name="connsiteX6" fmla="*/ 1158875 w 1165225"/>
              <a:gd name="connsiteY6" fmla="*/ 78231 h 444373"/>
              <a:gd name="connsiteX7" fmla="*/ 1158875 w 1165225"/>
              <a:gd name="connsiteY7" fmla="*/ 78231 h 444373"/>
              <a:gd name="connsiteX8" fmla="*/ 1158875 w 1165225"/>
              <a:gd name="connsiteY8" fmla="*/ 78231 h 444373"/>
              <a:gd name="connsiteX9" fmla="*/ 1158875 w 1165225"/>
              <a:gd name="connsiteY9" fmla="*/ 366141 h 444373"/>
              <a:gd name="connsiteX10" fmla="*/ 1158875 w 1165225"/>
              <a:gd name="connsiteY10" fmla="*/ 366141 h 444373"/>
              <a:gd name="connsiteX11" fmla="*/ 1086865 w 1165225"/>
              <a:gd name="connsiteY11" fmla="*/ 438022 h 444373"/>
              <a:gd name="connsiteX12" fmla="*/ 1086865 w 1165225"/>
              <a:gd name="connsiteY12" fmla="*/ 438022 h 444373"/>
              <a:gd name="connsiteX13" fmla="*/ 1086865 w 1165225"/>
              <a:gd name="connsiteY13" fmla="*/ 438022 h 444373"/>
              <a:gd name="connsiteX14" fmla="*/ 78358 w 1165225"/>
              <a:gd name="connsiteY14" fmla="*/ 438022 h 444373"/>
              <a:gd name="connsiteX15" fmla="*/ 78358 w 1165225"/>
              <a:gd name="connsiteY15" fmla="*/ 438022 h 444373"/>
              <a:gd name="connsiteX16" fmla="*/ 6350 w 1165225"/>
              <a:gd name="connsiteY16" fmla="*/ 366141 h 444373"/>
              <a:gd name="connsiteX17" fmla="*/ 6350 w 1165225"/>
              <a:gd name="connsiteY17" fmla="*/ 366141 h 444373"/>
              <a:gd name="connsiteX18" fmla="*/ 6350 w 1165225"/>
              <a:gd name="connsiteY18" fmla="*/ 78231 h 4443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1165225" h="444373">
                <a:moveTo>
                  <a:pt x="6350" y="78231"/>
                </a:moveTo>
                <a:cubicBezTo>
                  <a:pt x="6350" y="38480"/>
                  <a:pt x="38607" y="6350"/>
                  <a:pt x="78358" y="6350"/>
                </a:cubicBezTo>
                <a:cubicBezTo>
                  <a:pt x="78358" y="6350"/>
                  <a:pt x="78358" y="6350"/>
                  <a:pt x="78358" y="6350"/>
                </a:cubicBezTo>
                <a:lnTo>
                  <a:pt x="78358" y="6350"/>
                </a:lnTo>
                <a:lnTo>
                  <a:pt x="1086865" y="6350"/>
                </a:lnTo>
                <a:lnTo>
                  <a:pt x="1086865" y="6350"/>
                </a:lnTo>
                <a:cubicBezTo>
                  <a:pt x="1126616" y="6350"/>
                  <a:pt x="1158875" y="38480"/>
                  <a:pt x="1158875" y="78231"/>
                </a:cubicBezTo>
                <a:cubicBezTo>
                  <a:pt x="1158875" y="78231"/>
                  <a:pt x="1158875" y="78231"/>
                  <a:pt x="1158875" y="78231"/>
                </a:cubicBezTo>
                <a:lnTo>
                  <a:pt x="1158875" y="78231"/>
                </a:lnTo>
                <a:lnTo>
                  <a:pt x="1158875" y="366141"/>
                </a:lnTo>
                <a:lnTo>
                  <a:pt x="1158875" y="366141"/>
                </a:lnTo>
                <a:cubicBezTo>
                  <a:pt x="1158875" y="405891"/>
                  <a:pt x="1126616" y="438022"/>
                  <a:pt x="1086865" y="438022"/>
                </a:cubicBezTo>
                <a:cubicBezTo>
                  <a:pt x="1086865" y="438022"/>
                  <a:pt x="1086865" y="438022"/>
                  <a:pt x="1086865" y="438022"/>
                </a:cubicBezTo>
                <a:lnTo>
                  <a:pt x="1086865" y="438022"/>
                </a:lnTo>
                <a:lnTo>
                  <a:pt x="78358" y="438022"/>
                </a:lnTo>
                <a:lnTo>
                  <a:pt x="78358" y="438022"/>
                </a:lnTo>
                <a:cubicBezTo>
                  <a:pt x="38607" y="438022"/>
                  <a:pt x="6350" y="405891"/>
                  <a:pt x="6350" y="366141"/>
                </a:cubicBezTo>
                <a:cubicBezTo>
                  <a:pt x="6350" y="366141"/>
                  <a:pt x="6350" y="366141"/>
                  <a:pt x="6350" y="366141"/>
                </a:cubicBezTo>
                <a:lnTo>
                  <a:pt x="6350" y="78231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8" name="Freeform 3"/>
          <p:cNvSpPr/>
          <p:nvPr/>
        </p:nvSpPr>
        <p:spPr>
          <a:xfrm>
            <a:off x="4550793" y="4490319"/>
            <a:ext cx="1975873" cy="493156"/>
          </a:xfrm>
          <a:custGeom>
            <a:avLst/>
            <a:gdLst>
              <a:gd name="connsiteX0" fmla="*/ 0 w 2016125"/>
              <a:gd name="connsiteY0" fmla="*/ 83820 h 503173"/>
              <a:gd name="connsiteX1" fmla="*/ 83820 w 2016125"/>
              <a:gd name="connsiteY1" fmla="*/ 0 h 503173"/>
              <a:gd name="connsiteX2" fmla="*/ 83820 w 2016125"/>
              <a:gd name="connsiteY2" fmla="*/ 0 h 503173"/>
              <a:gd name="connsiteX3" fmla="*/ 83820 w 2016125"/>
              <a:gd name="connsiteY3" fmla="*/ 0 h 503173"/>
              <a:gd name="connsiteX4" fmla="*/ 1932178 w 2016125"/>
              <a:gd name="connsiteY4" fmla="*/ 0 h 503173"/>
              <a:gd name="connsiteX5" fmla="*/ 1932178 w 2016125"/>
              <a:gd name="connsiteY5" fmla="*/ 0 h 503173"/>
              <a:gd name="connsiteX6" fmla="*/ 2016125 w 2016125"/>
              <a:gd name="connsiteY6" fmla="*/ 83820 h 503173"/>
              <a:gd name="connsiteX7" fmla="*/ 2016125 w 2016125"/>
              <a:gd name="connsiteY7" fmla="*/ 83820 h 503173"/>
              <a:gd name="connsiteX8" fmla="*/ 2016125 w 2016125"/>
              <a:gd name="connsiteY8" fmla="*/ 83820 h 503173"/>
              <a:gd name="connsiteX9" fmla="*/ 2016125 w 2016125"/>
              <a:gd name="connsiteY9" fmla="*/ 419353 h 503173"/>
              <a:gd name="connsiteX10" fmla="*/ 2016125 w 2016125"/>
              <a:gd name="connsiteY10" fmla="*/ 419353 h 503173"/>
              <a:gd name="connsiteX11" fmla="*/ 1932178 w 2016125"/>
              <a:gd name="connsiteY11" fmla="*/ 503173 h 503173"/>
              <a:gd name="connsiteX12" fmla="*/ 1932178 w 2016125"/>
              <a:gd name="connsiteY12" fmla="*/ 503173 h 503173"/>
              <a:gd name="connsiteX13" fmla="*/ 1932178 w 2016125"/>
              <a:gd name="connsiteY13" fmla="*/ 503173 h 503173"/>
              <a:gd name="connsiteX14" fmla="*/ 83820 w 2016125"/>
              <a:gd name="connsiteY14" fmla="*/ 503173 h 503173"/>
              <a:gd name="connsiteX15" fmla="*/ 83820 w 2016125"/>
              <a:gd name="connsiteY15" fmla="*/ 503173 h 503173"/>
              <a:gd name="connsiteX16" fmla="*/ 0 w 2016125"/>
              <a:gd name="connsiteY16" fmla="*/ 419353 h 503173"/>
              <a:gd name="connsiteX17" fmla="*/ 0 w 2016125"/>
              <a:gd name="connsiteY17" fmla="*/ 419353 h 503173"/>
              <a:gd name="connsiteX18" fmla="*/ 0 w 2016125"/>
              <a:gd name="connsiteY18" fmla="*/ 83820 h 5031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2016125" h="503173">
                <a:moveTo>
                  <a:pt x="0" y="83820"/>
                </a:moveTo>
                <a:cubicBezTo>
                  <a:pt x="0" y="37591"/>
                  <a:pt x="37464" y="0"/>
                  <a:pt x="83820" y="0"/>
                </a:cubicBezTo>
                <a:cubicBezTo>
                  <a:pt x="83820" y="0"/>
                  <a:pt x="83820" y="0"/>
                  <a:pt x="83820" y="0"/>
                </a:cubicBezTo>
                <a:lnTo>
                  <a:pt x="83820" y="0"/>
                </a:lnTo>
                <a:lnTo>
                  <a:pt x="1932178" y="0"/>
                </a:lnTo>
                <a:lnTo>
                  <a:pt x="1932178" y="0"/>
                </a:lnTo>
                <a:cubicBezTo>
                  <a:pt x="1978532" y="0"/>
                  <a:pt x="2016125" y="37591"/>
                  <a:pt x="2016125" y="83820"/>
                </a:cubicBezTo>
                <a:cubicBezTo>
                  <a:pt x="2016125" y="83820"/>
                  <a:pt x="2016125" y="83820"/>
                  <a:pt x="2016125" y="83820"/>
                </a:cubicBezTo>
                <a:lnTo>
                  <a:pt x="2016125" y="83820"/>
                </a:lnTo>
                <a:lnTo>
                  <a:pt x="2016125" y="419353"/>
                </a:lnTo>
                <a:lnTo>
                  <a:pt x="2016125" y="419353"/>
                </a:lnTo>
                <a:cubicBezTo>
                  <a:pt x="2016125" y="465709"/>
                  <a:pt x="1978532" y="503173"/>
                  <a:pt x="1932178" y="503173"/>
                </a:cubicBezTo>
                <a:cubicBezTo>
                  <a:pt x="1932178" y="503173"/>
                  <a:pt x="1932178" y="503173"/>
                  <a:pt x="1932178" y="503173"/>
                </a:cubicBezTo>
                <a:lnTo>
                  <a:pt x="1932178" y="503173"/>
                </a:lnTo>
                <a:lnTo>
                  <a:pt x="83820" y="503173"/>
                </a:lnTo>
                <a:lnTo>
                  <a:pt x="83820" y="503173"/>
                </a:lnTo>
                <a:cubicBezTo>
                  <a:pt x="37464" y="503173"/>
                  <a:pt x="0" y="465709"/>
                  <a:pt x="0" y="419353"/>
                </a:cubicBezTo>
                <a:cubicBezTo>
                  <a:pt x="0" y="419353"/>
                  <a:pt x="0" y="419353"/>
                  <a:pt x="0" y="419353"/>
                </a:cubicBezTo>
                <a:lnTo>
                  <a:pt x="0" y="83820"/>
                </a:lnTo>
              </a:path>
            </a:pathLst>
          </a:custGeom>
          <a:solidFill>
            <a:srgbClr val="DEDED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9" name="Freeform 3"/>
          <p:cNvSpPr/>
          <p:nvPr/>
        </p:nvSpPr>
        <p:spPr>
          <a:xfrm>
            <a:off x="4544570" y="4484096"/>
            <a:ext cx="1988319" cy="505603"/>
          </a:xfrm>
          <a:custGeom>
            <a:avLst/>
            <a:gdLst>
              <a:gd name="connsiteX0" fmla="*/ 6350 w 2028825"/>
              <a:gd name="connsiteY0" fmla="*/ 90170 h 515873"/>
              <a:gd name="connsiteX1" fmla="*/ 90170 w 2028825"/>
              <a:gd name="connsiteY1" fmla="*/ 6350 h 515873"/>
              <a:gd name="connsiteX2" fmla="*/ 90170 w 2028825"/>
              <a:gd name="connsiteY2" fmla="*/ 6350 h 515873"/>
              <a:gd name="connsiteX3" fmla="*/ 90170 w 2028825"/>
              <a:gd name="connsiteY3" fmla="*/ 6350 h 515873"/>
              <a:gd name="connsiteX4" fmla="*/ 1938528 w 2028825"/>
              <a:gd name="connsiteY4" fmla="*/ 6350 h 515873"/>
              <a:gd name="connsiteX5" fmla="*/ 1938528 w 2028825"/>
              <a:gd name="connsiteY5" fmla="*/ 6350 h 515873"/>
              <a:gd name="connsiteX6" fmla="*/ 2022475 w 2028825"/>
              <a:gd name="connsiteY6" fmla="*/ 90170 h 515873"/>
              <a:gd name="connsiteX7" fmla="*/ 2022475 w 2028825"/>
              <a:gd name="connsiteY7" fmla="*/ 90170 h 515873"/>
              <a:gd name="connsiteX8" fmla="*/ 2022475 w 2028825"/>
              <a:gd name="connsiteY8" fmla="*/ 90170 h 515873"/>
              <a:gd name="connsiteX9" fmla="*/ 2022475 w 2028825"/>
              <a:gd name="connsiteY9" fmla="*/ 425703 h 515873"/>
              <a:gd name="connsiteX10" fmla="*/ 2022475 w 2028825"/>
              <a:gd name="connsiteY10" fmla="*/ 425703 h 515873"/>
              <a:gd name="connsiteX11" fmla="*/ 1938528 w 2028825"/>
              <a:gd name="connsiteY11" fmla="*/ 509523 h 515873"/>
              <a:gd name="connsiteX12" fmla="*/ 1938528 w 2028825"/>
              <a:gd name="connsiteY12" fmla="*/ 509523 h 515873"/>
              <a:gd name="connsiteX13" fmla="*/ 1938528 w 2028825"/>
              <a:gd name="connsiteY13" fmla="*/ 509523 h 515873"/>
              <a:gd name="connsiteX14" fmla="*/ 90170 w 2028825"/>
              <a:gd name="connsiteY14" fmla="*/ 509523 h 515873"/>
              <a:gd name="connsiteX15" fmla="*/ 90170 w 2028825"/>
              <a:gd name="connsiteY15" fmla="*/ 509523 h 515873"/>
              <a:gd name="connsiteX16" fmla="*/ 6350 w 2028825"/>
              <a:gd name="connsiteY16" fmla="*/ 425703 h 515873"/>
              <a:gd name="connsiteX17" fmla="*/ 6350 w 2028825"/>
              <a:gd name="connsiteY17" fmla="*/ 425703 h 515873"/>
              <a:gd name="connsiteX18" fmla="*/ 6350 w 2028825"/>
              <a:gd name="connsiteY18" fmla="*/ 90170 h 5158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2028825" h="515873">
                <a:moveTo>
                  <a:pt x="6350" y="90170"/>
                </a:moveTo>
                <a:cubicBezTo>
                  <a:pt x="6350" y="43941"/>
                  <a:pt x="43814" y="6350"/>
                  <a:pt x="90170" y="6350"/>
                </a:cubicBezTo>
                <a:cubicBezTo>
                  <a:pt x="90170" y="6350"/>
                  <a:pt x="90170" y="6350"/>
                  <a:pt x="90170" y="6350"/>
                </a:cubicBezTo>
                <a:lnTo>
                  <a:pt x="90170" y="6350"/>
                </a:lnTo>
                <a:lnTo>
                  <a:pt x="1938528" y="6350"/>
                </a:lnTo>
                <a:lnTo>
                  <a:pt x="1938528" y="6350"/>
                </a:lnTo>
                <a:cubicBezTo>
                  <a:pt x="1984882" y="6350"/>
                  <a:pt x="2022475" y="43941"/>
                  <a:pt x="2022475" y="90170"/>
                </a:cubicBezTo>
                <a:cubicBezTo>
                  <a:pt x="2022475" y="90170"/>
                  <a:pt x="2022475" y="90170"/>
                  <a:pt x="2022475" y="90170"/>
                </a:cubicBezTo>
                <a:lnTo>
                  <a:pt x="2022475" y="90170"/>
                </a:lnTo>
                <a:lnTo>
                  <a:pt x="2022475" y="425703"/>
                </a:lnTo>
                <a:lnTo>
                  <a:pt x="2022475" y="425703"/>
                </a:lnTo>
                <a:cubicBezTo>
                  <a:pt x="2022475" y="472059"/>
                  <a:pt x="1984882" y="509523"/>
                  <a:pt x="1938528" y="509523"/>
                </a:cubicBezTo>
                <a:cubicBezTo>
                  <a:pt x="1938528" y="509523"/>
                  <a:pt x="1938528" y="509523"/>
                  <a:pt x="1938528" y="509523"/>
                </a:cubicBezTo>
                <a:lnTo>
                  <a:pt x="1938528" y="509523"/>
                </a:lnTo>
                <a:lnTo>
                  <a:pt x="90170" y="509523"/>
                </a:lnTo>
                <a:lnTo>
                  <a:pt x="90170" y="509523"/>
                </a:lnTo>
                <a:cubicBezTo>
                  <a:pt x="43814" y="509523"/>
                  <a:pt x="6350" y="472059"/>
                  <a:pt x="6350" y="425703"/>
                </a:cubicBezTo>
                <a:cubicBezTo>
                  <a:pt x="6350" y="425703"/>
                  <a:pt x="6350" y="425703"/>
                  <a:pt x="6350" y="425703"/>
                </a:cubicBezTo>
                <a:lnTo>
                  <a:pt x="6350" y="9017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0" name="Freeform 3"/>
          <p:cNvSpPr/>
          <p:nvPr/>
        </p:nvSpPr>
        <p:spPr>
          <a:xfrm>
            <a:off x="2574920" y="4630349"/>
            <a:ext cx="691649" cy="211602"/>
          </a:xfrm>
          <a:custGeom>
            <a:avLst/>
            <a:gdLst>
              <a:gd name="connsiteX0" fmla="*/ 0 w 705739"/>
              <a:gd name="connsiteY0" fmla="*/ 0 h 215900"/>
              <a:gd name="connsiteX1" fmla="*/ 621664 w 705739"/>
              <a:gd name="connsiteY1" fmla="*/ 0 h 215900"/>
              <a:gd name="connsiteX2" fmla="*/ 705739 w 705739"/>
              <a:gd name="connsiteY2" fmla="*/ 107950 h 215900"/>
              <a:gd name="connsiteX3" fmla="*/ 621664 w 705739"/>
              <a:gd name="connsiteY3" fmla="*/ 215900 h 215900"/>
              <a:gd name="connsiteX4" fmla="*/ 0 w 705739"/>
              <a:gd name="connsiteY4" fmla="*/ 215900 h 215900"/>
              <a:gd name="connsiteX5" fmla="*/ 83947 w 705739"/>
              <a:gd name="connsiteY5" fmla="*/ 107950 h 215900"/>
              <a:gd name="connsiteX6" fmla="*/ 0 w 705739"/>
              <a:gd name="connsiteY6" fmla="*/ 0 h 2159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705739" h="215900">
                <a:moveTo>
                  <a:pt x="0" y="0"/>
                </a:moveTo>
                <a:lnTo>
                  <a:pt x="621664" y="0"/>
                </a:lnTo>
                <a:lnTo>
                  <a:pt x="705739" y="107950"/>
                </a:lnTo>
                <a:lnTo>
                  <a:pt x="621664" y="215900"/>
                </a:lnTo>
                <a:lnTo>
                  <a:pt x="0" y="215900"/>
                </a:lnTo>
                <a:lnTo>
                  <a:pt x="83947" y="107950"/>
                </a:lnTo>
                <a:lnTo>
                  <a:pt x="0" y="0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1" name="Freeform 3"/>
          <p:cNvSpPr/>
          <p:nvPr/>
        </p:nvSpPr>
        <p:spPr>
          <a:xfrm>
            <a:off x="2568697" y="4624126"/>
            <a:ext cx="704095" cy="224049"/>
          </a:xfrm>
          <a:custGeom>
            <a:avLst/>
            <a:gdLst>
              <a:gd name="connsiteX0" fmla="*/ 6350 w 718439"/>
              <a:gd name="connsiteY0" fmla="*/ 6350 h 228600"/>
              <a:gd name="connsiteX1" fmla="*/ 628014 w 718439"/>
              <a:gd name="connsiteY1" fmla="*/ 6350 h 228600"/>
              <a:gd name="connsiteX2" fmla="*/ 712089 w 718439"/>
              <a:gd name="connsiteY2" fmla="*/ 114300 h 228600"/>
              <a:gd name="connsiteX3" fmla="*/ 628014 w 718439"/>
              <a:gd name="connsiteY3" fmla="*/ 222250 h 228600"/>
              <a:gd name="connsiteX4" fmla="*/ 6350 w 718439"/>
              <a:gd name="connsiteY4" fmla="*/ 222250 h 228600"/>
              <a:gd name="connsiteX5" fmla="*/ 90297 w 718439"/>
              <a:gd name="connsiteY5" fmla="*/ 114300 h 228600"/>
              <a:gd name="connsiteX6" fmla="*/ 6350 w 718439"/>
              <a:gd name="connsiteY6" fmla="*/ 6350 h 2286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718439" h="228600">
                <a:moveTo>
                  <a:pt x="6350" y="6350"/>
                </a:moveTo>
                <a:lnTo>
                  <a:pt x="628014" y="6350"/>
                </a:lnTo>
                <a:lnTo>
                  <a:pt x="712089" y="114300"/>
                </a:lnTo>
                <a:lnTo>
                  <a:pt x="628014" y="222250"/>
                </a:lnTo>
                <a:lnTo>
                  <a:pt x="6350" y="222250"/>
                </a:lnTo>
                <a:lnTo>
                  <a:pt x="90297" y="114300"/>
                </a:lnTo>
                <a:lnTo>
                  <a:pt x="6350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2" name="Freeform 3"/>
          <p:cNvSpPr/>
          <p:nvPr/>
        </p:nvSpPr>
        <p:spPr>
          <a:xfrm>
            <a:off x="3859018" y="4630349"/>
            <a:ext cx="691773" cy="211602"/>
          </a:xfrm>
          <a:custGeom>
            <a:avLst/>
            <a:gdLst>
              <a:gd name="connsiteX0" fmla="*/ 0 w 705866"/>
              <a:gd name="connsiteY0" fmla="*/ 0 h 215900"/>
              <a:gd name="connsiteX1" fmla="*/ 621792 w 705866"/>
              <a:gd name="connsiteY1" fmla="*/ 0 h 215900"/>
              <a:gd name="connsiteX2" fmla="*/ 705866 w 705866"/>
              <a:gd name="connsiteY2" fmla="*/ 107950 h 215900"/>
              <a:gd name="connsiteX3" fmla="*/ 621792 w 705866"/>
              <a:gd name="connsiteY3" fmla="*/ 215900 h 215900"/>
              <a:gd name="connsiteX4" fmla="*/ 0 w 705866"/>
              <a:gd name="connsiteY4" fmla="*/ 215900 h 215900"/>
              <a:gd name="connsiteX5" fmla="*/ 84074 w 705866"/>
              <a:gd name="connsiteY5" fmla="*/ 107950 h 215900"/>
              <a:gd name="connsiteX6" fmla="*/ 0 w 705866"/>
              <a:gd name="connsiteY6" fmla="*/ 0 h 2159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705866" h="215900">
                <a:moveTo>
                  <a:pt x="0" y="0"/>
                </a:moveTo>
                <a:lnTo>
                  <a:pt x="621792" y="0"/>
                </a:lnTo>
                <a:lnTo>
                  <a:pt x="705866" y="107950"/>
                </a:lnTo>
                <a:lnTo>
                  <a:pt x="621792" y="215900"/>
                </a:lnTo>
                <a:lnTo>
                  <a:pt x="0" y="215900"/>
                </a:lnTo>
                <a:lnTo>
                  <a:pt x="84074" y="107950"/>
                </a:lnTo>
                <a:lnTo>
                  <a:pt x="0" y="0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3" name="Freeform 3"/>
          <p:cNvSpPr/>
          <p:nvPr/>
        </p:nvSpPr>
        <p:spPr>
          <a:xfrm>
            <a:off x="3852795" y="4624126"/>
            <a:ext cx="704220" cy="224049"/>
          </a:xfrm>
          <a:custGeom>
            <a:avLst/>
            <a:gdLst>
              <a:gd name="connsiteX0" fmla="*/ 6350 w 718566"/>
              <a:gd name="connsiteY0" fmla="*/ 6350 h 228600"/>
              <a:gd name="connsiteX1" fmla="*/ 628142 w 718566"/>
              <a:gd name="connsiteY1" fmla="*/ 6350 h 228600"/>
              <a:gd name="connsiteX2" fmla="*/ 712216 w 718566"/>
              <a:gd name="connsiteY2" fmla="*/ 114300 h 228600"/>
              <a:gd name="connsiteX3" fmla="*/ 628142 w 718566"/>
              <a:gd name="connsiteY3" fmla="*/ 222250 h 228600"/>
              <a:gd name="connsiteX4" fmla="*/ 6350 w 718566"/>
              <a:gd name="connsiteY4" fmla="*/ 222250 h 228600"/>
              <a:gd name="connsiteX5" fmla="*/ 90424 w 718566"/>
              <a:gd name="connsiteY5" fmla="*/ 114300 h 228600"/>
              <a:gd name="connsiteX6" fmla="*/ 6350 w 718566"/>
              <a:gd name="connsiteY6" fmla="*/ 6350 h 2286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718566" h="228600">
                <a:moveTo>
                  <a:pt x="6350" y="6350"/>
                </a:moveTo>
                <a:lnTo>
                  <a:pt x="628142" y="6350"/>
                </a:lnTo>
                <a:lnTo>
                  <a:pt x="712216" y="114300"/>
                </a:lnTo>
                <a:lnTo>
                  <a:pt x="628142" y="222250"/>
                </a:lnTo>
                <a:lnTo>
                  <a:pt x="6350" y="222250"/>
                </a:lnTo>
                <a:lnTo>
                  <a:pt x="90424" y="114300"/>
                </a:lnTo>
                <a:lnTo>
                  <a:pt x="6350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4" name="Freeform 3"/>
          <p:cNvSpPr/>
          <p:nvPr/>
        </p:nvSpPr>
        <p:spPr>
          <a:xfrm>
            <a:off x="3217530" y="4630349"/>
            <a:ext cx="691648" cy="211602"/>
          </a:xfrm>
          <a:custGeom>
            <a:avLst/>
            <a:gdLst>
              <a:gd name="connsiteX0" fmla="*/ 0 w 705738"/>
              <a:gd name="connsiteY0" fmla="*/ 0 h 215900"/>
              <a:gd name="connsiteX1" fmla="*/ 621664 w 705738"/>
              <a:gd name="connsiteY1" fmla="*/ 0 h 215900"/>
              <a:gd name="connsiteX2" fmla="*/ 705738 w 705738"/>
              <a:gd name="connsiteY2" fmla="*/ 107950 h 215900"/>
              <a:gd name="connsiteX3" fmla="*/ 621664 w 705738"/>
              <a:gd name="connsiteY3" fmla="*/ 215900 h 215900"/>
              <a:gd name="connsiteX4" fmla="*/ 0 w 705738"/>
              <a:gd name="connsiteY4" fmla="*/ 215900 h 215900"/>
              <a:gd name="connsiteX5" fmla="*/ 83946 w 705738"/>
              <a:gd name="connsiteY5" fmla="*/ 107950 h 215900"/>
              <a:gd name="connsiteX6" fmla="*/ 0 w 705738"/>
              <a:gd name="connsiteY6" fmla="*/ 0 h 2159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705738" h="215900">
                <a:moveTo>
                  <a:pt x="0" y="0"/>
                </a:moveTo>
                <a:lnTo>
                  <a:pt x="621664" y="0"/>
                </a:lnTo>
                <a:lnTo>
                  <a:pt x="705738" y="107950"/>
                </a:lnTo>
                <a:lnTo>
                  <a:pt x="621664" y="215900"/>
                </a:lnTo>
                <a:lnTo>
                  <a:pt x="0" y="215900"/>
                </a:lnTo>
                <a:lnTo>
                  <a:pt x="83946" y="107950"/>
                </a:lnTo>
                <a:lnTo>
                  <a:pt x="0" y="0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5" name="Freeform 3"/>
          <p:cNvSpPr/>
          <p:nvPr/>
        </p:nvSpPr>
        <p:spPr>
          <a:xfrm>
            <a:off x="3211307" y="4624126"/>
            <a:ext cx="704094" cy="224049"/>
          </a:xfrm>
          <a:custGeom>
            <a:avLst/>
            <a:gdLst>
              <a:gd name="connsiteX0" fmla="*/ 6350 w 718438"/>
              <a:gd name="connsiteY0" fmla="*/ 6350 h 228600"/>
              <a:gd name="connsiteX1" fmla="*/ 628014 w 718438"/>
              <a:gd name="connsiteY1" fmla="*/ 6350 h 228600"/>
              <a:gd name="connsiteX2" fmla="*/ 712088 w 718438"/>
              <a:gd name="connsiteY2" fmla="*/ 114300 h 228600"/>
              <a:gd name="connsiteX3" fmla="*/ 628014 w 718438"/>
              <a:gd name="connsiteY3" fmla="*/ 222250 h 228600"/>
              <a:gd name="connsiteX4" fmla="*/ 6350 w 718438"/>
              <a:gd name="connsiteY4" fmla="*/ 222250 h 228600"/>
              <a:gd name="connsiteX5" fmla="*/ 90296 w 718438"/>
              <a:gd name="connsiteY5" fmla="*/ 114300 h 228600"/>
              <a:gd name="connsiteX6" fmla="*/ 6350 w 718438"/>
              <a:gd name="connsiteY6" fmla="*/ 6350 h 2286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718438" h="228600">
                <a:moveTo>
                  <a:pt x="6350" y="6350"/>
                </a:moveTo>
                <a:lnTo>
                  <a:pt x="628014" y="6350"/>
                </a:lnTo>
                <a:lnTo>
                  <a:pt x="712088" y="114300"/>
                </a:lnTo>
                <a:lnTo>
                  <a:pt x="628014" y="222250"/>
                </a:lnTo>
                <a:lnTo>
                  <a:pt x="6350" y="222250"/>
                </a:lnTo>
                <a:lnTo>
                  <a:pt x="90296" y="114300"/>
                </a:lnTo>
                <a:lnTo>
                  <a:pt x="6350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6" name="Freeform 3"/>
          <p:cNvSpPr/>
          <p:nvPr/>
        </p:nvSpPr>
        <p:spPr>
          <a:xfrm>
            <a:off x="3279637" y="2019555"/>
            <a:ext cx="224036" cy="564852"/>
          </a:xfrm>
          <a:custGeom>
            <a:avLst/>
            <a:gdLst>
              <a:gd name="connsiteX0" fmla="*/ 0 w 228600"/>
              <a:gd name="connsiteY0" fmla="*/ 333882 h 576325"/>
              <a:gd name="connsiteX1" fmla="*/ 58165 w 228600"/>
              <a:gd name="connsiteY1" fmla="*/ 333882 h 576325"/>
              <a:gd name="connsiteX2" fmla="*/ 58165 w 228600"/>
              <a:gd name="connsiteY2" fmla="*/ 0 h 576325"/>
              <a:gd name="connsiteX3" fmla="*/ 170434 w 228600"/>
              <a:gd name="connsiteY3" fmla="*/ 0 h 576325"/>
              <a:gd name="connsiteX4" fmla="*/ 170434 w 228600"/>
              <a:gd name="connsiteY4" fmla="*/ 333882 h 576325"/>
              <a:gd name="connsiteX5" fmla="*/ 228600 w 228600"/>
              <a:gd name="connsiteY5" fmla="*/ 333882 h 576325"/>
              <a:gd name="connsiteX6" fmla="*/ 114300 w 228600"/>
              <a:gd name="connsiteY6" fmla="*/ 576326 h 576325"/>
              <a:gd name="connsiteX7" fmla="*/ 0 w 228600"/>
              <a:gd name="connsiteY7" fmla="*/ 333882 h 57632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228600" h="576325">
                <a:moveTo>
                  <a:pt x="0" y="333882"/>
                </a:moveTo>
                <a:lnTo>
                  <a:pt x="58165" y="333882"/>
                </a:lnTo>
                <a:lnTo>
                  <a:pt x="58165" y="0"/>
                </a:lnTo>
                <a:lnTo>
                  <a:pt x="170434" y="0"/>
                </a:lnTo>
                <a:lnTo>
                  <a:pt x="170434" y="333882"/>
                </a:lnTo>
                <a:lnTo>
                  <a:pt x="228600" y="333882"/>
                </a:lnTo>
                <a:lnTo>
                  <a:pt x="114300" y="576326"/>
                </a:lnTo>
                <a:lnTo>
                  <a:pt x="0" y="333882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7" name="Freeform 3"/>
          <p:cNvSpPr/>
          <p:nvPr/>
        </p:nvSpPr>
        <p:spPr>
          <a:xfrm>
            <a:off x="3273414" y="2013331"/>
            <a:ext cx="236482" cy="577299"/>
          </a:xfrm>
          <a:custGeom>
            <a:avLst/>
            <a:gdLst>
              <a:gd name="connsiteX0" fmla="*/ 6350 w 241300"/>
              <a:gd name="connsiteY0" fmla="*/ 340232 h 589025"/>
              <a:gd name="connsiteX1" fmla="*/ 64515 w 241300"/>
              <a:gd name="connsiteY1" fmla="*/ 340232 h 589025"/>
              <a:gd name="connsiteX2" fmla="*/ 64515 w 241300"/>
              <a:gd name="connsiteY2" fmla="*/ 6350 h 589025"/>
              <a:gd name="connsiteX3" fmla="*/ 176784 w 241300"/>
              <a:gd name="connsiteY3" fmla="*/ 6350 h 589025"/>
              <a:gd name="connsiteX4" fmla="*/ 176784 w 241300"/>
              <a:gd name="connsiteY4" fmla="*/ 340232 h 589025"/>
              <a:gd name="connsiteX5" fmla="*/ 234950 w 241300"/>
              <a:gd name="connsiteY5" fmla="*/ 340232 h 589025"/>
              <a:gd name="connsiteX6" fmla="*/ 120650 w 241300"/>
              <a:gd name="connsiteY6" fmla="*/ 582676 h 589025"/>
              <a:gd name="connsiteX7" fmla="*/ 6350 w 241300"/>
              <a:gd name="connsiteY7" fmla="*/ 340232 h 58902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241300" h="589025">
                <a:moveTo>
                  <a:pt x="6350" y="340232"/>
                </a:moveTo>
                <a:lnTo>
                  <a:pt x="64515" y="340232"/>
                </a:lnTo>
                <a:lnTo>
                  <a:pt x="64515" y="6350"/>
                </a:lnTo>
                <a:lnTo>
                  <a:pt x="176784" y="6350"/>
                </a:lnTo>
                <a:lnTo>
                  <a:pt x="176784" y="340232"/>
                </a:lnTo>
                <a:lnTo>
                  <a:pt x="234950" y="340232"/>
                </a:lnTo>
                <a:lnTo>
                  <a:pt x="120650" y="582676"/>
                </a:lnTo>
                <a:lnTo>
                  <a:pt x="6350" y="340232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8" name="Freeform 3"/>
          <p:cNvSpPr/>
          <p:nvPr/>
        </p:nvSpPr>
        <p:spPr>
          <a:xfrm>
            <a:off x="5750256" y="2019555"/>
            <a:ext cx="224036" cy="2470764"/>
          </a:xfrm>
          <a:custGeom>
            <a:avLst/>
            <a:gdLst>
              <a:gd name="connsiteX0" fmla="*/ 0 w 228600"/>
              <a:gd name="connsiteY0" fmla="*/ 1460627 h 2520950"/>
              <a:gd name="connsiteX1" fmla="*/ 58165 w 228600"/>
              <a:gd name="connsiteY1" fmla="*/ 1460627 h 2520950"/>
              <a:gd name="connsiteX2" fmla="*/ 58165 w 228600"/>
              <a:gd name="connsiteY2" fmla="*/ 0 h 2520950"/>
              <a:gd name="connsiteX3" fmla="*/ 170434 w 228600"/>
              <a:gd name="connsiteY3" fmla="*/ 0 h 2520950"/>
              <a:gd name="connsiteX4" fmla="*/ 170434 w 228600"/>
              <a:gd name="connsiteY4" fmla="*/ 1460627 h 2520950"/>
              <a:gd name="connsiteX5" fmla="*/ 228600 w 228600"/>
              <a:gd name="connsiteY5" fmla="*/ 1460627 h 2520950"/>
              <a:gd name="connsiteX6" fmla="*/ 114300 w 228600"/>
              <a:gd name="connsiteY6" fmla="*/ 2520950 h 2520950"/>
              <a:gd name="connsiteX7" fmla="*/ 0 w 228600"/>
              <a:gd name="connsiteY7" fmla="*/ 1460627 h 252095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228600" h="2520950">
                <a:moveTo>
                  <a:pt x="0" y="1460627"/>
                </a:moveTo>
                <a:lnTo>
                  <a:pt x="58165" y="1460627"/>
                </a:lnTo>
                <a:lnTo>
                  <a:pt x="58165" y="0"/>
                </a:lnTo>
                <a:lnTo>
                  <a:pt x="170434" y="0"/>
                </a:lnTo>
                <a:lnTo>
                  <a:pt x="170434" y="1460627"/>
                </a:lnTo>
                <a:lnTo>
                  <a:pt x="228600" y="1460627"/>
                </a:lnTo>
                <a:lnTo>
                  <a:pt x="114300" y="2520950"/>
                </a:lnTo>
                <a:lnTo>
                  <a:pt x="0" y="1460627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9" name="Freeform 3"/>
          <p:cNvSpPr/>
          <p:nvPr/>
        </p:nvSpPr>
        <p:spPr>
          <a:xfrm>
            <a:off x="5744033" y="2013331"/>
            <a:ext cx="236482" cy="2483212"/>
          </a:xfrm>
          <a:custGeom>
            <a:avLst/>
            <a:gdLst>
              <a:gd name="connsiteX0" fmla="*/ 6350 w 241300"/>
              <a:gd name="connsiteY0" fmla="*/ 1466977 h 2533650"/>
              <a:gd name="connsiteX1" fmla="*/ 64515 w 241300"/>
              <a:gd name="connsiteY1" fmla="*/ 1466977 h 2533650"/>
              <a:gd name="connsiteX2" fmla="*/ 64515 w 241300"/>
              <a:gd name="connsiteY2" fmla="*/ 6350 h 2533650"/>
              <a:gd name="connsiteX3" fmla="*/ 176784 w 241300"/>
              <a:gd name="connsiteY3" fmla="*/ 6350 h 2533650"/>
              <a:gd name="connsiteX4" fmla="*/ 176784 w 241300"/>
              <a:gd name="connsiteY4" fmla="*/ 1466977 h 2533650"/>
              <a:gd name="connsiteX5" fmla="*/ 234950 w 241300"/>
              <a:gd name="connsiteY5" fmla="*/ 1466977 h 2533650"/>
              <a:gd name="connsiteX6" fmla="*/ 120650 w 241300"/>
              <a:gd name="connsiteY6" fmla="*/ 2527300 h 2533650"/>
              <a:gd name="connsiteX7" fmla="*/ 6350 w 241300"/>
              <a:gd name="connsiteY7" fmla="*/ 1466977 h 253365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241300" h="2533650">
                <a:moveTo>
                  <a:pt x="6350" y="1466977"/>
                </a:moveTo>
                <a:lnTo>
                  <a:pt x="64515" y="1466977"/>
                </a:lnTo>
                <a:lnTo>
                  <a:pt x="64515" y="6350"/>
                </a:lnTo>
                <a:lnTo>
                  <a:pt x="176784" y="6350"/>
                </a:lnTo>
                <a:lnTo>
                  <a:pt x="176784" y="1466977"/>
                </a:lnTo>
                <a:lnTo>
                  <a:pt x="234950" y="1466977"/>
                </a:lnTo>
                <a:lnTo>
                  <a:pt x="120650" y="2527300"/>
                </a:lnTo>
                <a:lnTo>
                  <a:pt x="6350" y="1466977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30" name="Freeform 3"/>
          <p:cNvSpPr/>
          <p:nvPr/>
        </p:nvSpPr>
        <p:spPr>
          <a:xfrm>
            <a:off x="3279637" y="3149136"/>
            <a:ext cx="1481127" cy="563235"/>
          </a:xfrm>
          <a:custGeom>
            <a:avLst/>
            <a:gdLst>
              <a:gd name="connsiteX0" fmla="*/ 0 w 1511300"/>
              <a:gd name="connsiteY0" fmla="*/ 95758 h 574675"/>
              <a:gd name="connsiteX1" fmla="*/ 95758 w 1511300"/>
              <a:gd name="connsiteY1" fmla="*/ 0 h 574675"/>
              <a:gd name="connsiteX2" fmla="*/ 95758 w 1511300"/>
              <a:gd name="connsiteY2" fmla="*/ 0 h 574675"/>
              <a:gd name="connsiteX3" fmla="*/ 95758 w 1511300"/>
              <a:gd name="connsiteY3" fmla="*/ 0 h 574675"/>
              <a:gd name="connsiteX4" fmla="*/ 1415541 w 1511300"/>
              <a:gd name="connsiteY4" fmla="*/ 0 h 574675"/>
              <a:gd name="connsiteX5" fmla="*/ 1415541 w 1511300"/>
              <a:gd name="connsiteY5" fmla="*/ 0 h 574675"/>
              <a:gd name="connsiteX6" fmla="*/ 1511300 w 1511300"/>
              <a:gd name="connsiteY6" fmla="*/ 95758 h 574675"/>
              <a:gd name="connsiteX7" fmla="*/ 1511300 w 1511300"/>
              <a:gd name="connsiteY7" fmla="*/ 95758 h 574675"/>
              <a:gd name="connsiteX8" fmla="*/ 1511300 w 1511300"/>
              <a:gd name="connsiteY8" fmla="*/ 95758 h 574675"/>
              <a:gd name="connsiteX9" fmla="*/ 1511300 w 1511300"/>
              <a:gd name="connsiteY9" fmla="*/ 478916 h 574675"/>
              <a:gd name="connsiteX10" fmla="*/ 1511300 w 1511300"/>
              <a:gd name="connsiteY10" fmla="*/ 478916 h 574675"/>
              <a:gd name="connsiteX11" fmla="*/ 1415541 w 1511300"/>
              <a:gd name="connsiteY11" fmla="*/ 574675 h 574675"/>
              <a:gd name="connsiteX12" fmla="*/ 1415541 w 1511300"/>
              <a:gd name="connsiteY12" fmla="*/ 574675 h 574675"/>
              <a:gd name="connsiteX13" fmla="*/ 1415541 w 1511300"/>
              <a:gd name="connsiteY13" fmla="*/ 574675 h 574675"/>
              <a:gd name="connsiteX14" fmla="*/ 95758 w 1511300"/>
              <a:gd name="connsiteY14" fmla="*/ 574675 h 574675"/>
              <a:gd name="connsiteX15" fmla="*/ 95758 w 1511300"/>
              <a:gd name="connsiteY15" fmla="*/ 574675 h 574675"/>
              <a:gd name="connsiteX16" fmla="*/ 0 w 1511300"/>
              <a:gd name="connsiteY16" fmla="*/ 478916 h 574675"/>
              <a:gd name="connsiteX17" fmla="*/ 0 w 1511300"/>
              <a:gd name="connsiteY17" fmla="*/ 478916 h 574675"/>
              <a:gd name="connsiteX18" fmla="*/ 0 w 1511300"/>
              <a:gd name="connsiteY18" fmla="*/ 95758 h 57467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1511300" h="574675">
                <a:moveTo>
                  <a:pt x="0" y="95758"/>
                </a:moveTo>
                <a:cubicBezTo>
                  <a:pt x="0" y="42926"/>
                  <a:pt x="42926" y="0"/>
                  <a:pt x="95758" y="0"/>
                </a:cubicBezTo>
                <a:cubicBezTo>
                  <a:pt x="95758" y="0"/>
                  <a:pt x="95758" y="0"/>
                  <a:pt x="95758" y="0"/>
                </a:cubicBezTo>
                <a:lnTo>
                  <a:pt x="95758" y="0"/>
                </a:lnTo>
                <a:lnTo>
                  <a:pt x="1415541" y="0"/>
                </a:lnTo>
                <a:lnTo>
                  <a:pt x="1415541" y="0"/>
                </a:lnTo>
                <a:cubicBezTo>
                  <a:pt x="1468373" y="0"/>
                  <a:pt x="1511300" y="42926"/>
                  <a:pt x="1511300" y="95758"/>
                </a:cubicBezTo>
                <a:cubicBezTo>
                  <a:pt x="1511300" y="95758"/>
                  <a:pt x="1511300" y="95758"/>
                  <a:pt x="1511300" y="95758"/>
                </a:cubicBezTo>
                <a:lnTo>
                  <a:pt x="1511300" y="95758"/>
                </a:lnTo>
                <a:lnTo>
                  <a:pt x="1511300" y="478916"/>
                </a:lnTo>
                <a:lnTo>
                  <a:pt x="1511300" y="478916"/>
                </a:lnTo>
                <a:cubicBezTo>
                  <a:pt x="1511300" y="531748"/>
                  <a:pt x="1468373" y="574675"/>
                  <a:pt x="1415541" y="574675"/>
                </a:cubicBezTo>
                <a:cubicBezTo>
                  <a:pt x="1415541" y="574675"/>
                  <a:pt x="1415541" y="574675"/>
                  <a:pt x="1415541" y="574675"/>
                </a:cubicBezTo>
                <a:lnTo>
                  <a:pt x="1415541" y="574675"/>
                </a:lnTo>
                <a:lnTo>
                  <a:pt x="95758" y="574675"/>
                </a:lnTo>
                <a:lnTo>
                  <a:pt x="95758" y="574675"/>
                </a:lnTo>
                <a:cubicBezTo>
                  <a:pt x="42926" y="574675"/>
                  <a:pt x="0" y="531748"/>
                  <a:pt x="0" y="478916"/>
                </a:cubicBezTo>
                <a:cubicBezTo>
                  <a:pt x="0" y="478916"/>
                  <a:pt x="0" y="478916"/>
                  <a:pt x="0" y="478916"/>
                </a:cubicBezTo>
                <a:lnTo>
                  <a:pt x="0" y="95758"/>
                </a:lnTo>
              </a:path>
            </a:pathLst>
          </a:custGeom>
          <a:solidFill>
            <a:srgbClr val="DEDED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31" name="Freeform 3"/>
          <p:cNvSpPr/>
          <p:nvPr/>
        </p:nvSpPr>
        <p:spPr>
          <a:xfrm>
            <a:off x="3273414" y="3142912"/>
            <a:ext cx="1493573" cy="575682"/>
          </a:xfrm>
          <a:custGeom>
            <a:avLst/>
            <a:gdLst>
              <a:gd name="connsiteX0" fmla="*/ 6350 w 1524000"/>
              <a:gd name="connsiteY0" fmla="*/ 102108 h 587375"/>
              <a:gd name="connsiteX1" fmla="*/ 102108 w 1524000"/>
              <a:gd name="connsiteY1" fmla="*/ 6350 h 587375"/>
              <a:gd name="connsiteX2" fmla="*/ 102108 w 1524000"/>
              <a:gd name="connsiteY2" fmla="*/ 6350 h 587375"/>
              <a:gd name="connsiteX3" fmla="*/ 102108 w 1524000"/>
              <a:gd name="connsiteY3" fmla="*/ 6350 h 587375"/>
              <a:gd name="connsiteX4" fmla="*/ 1421891 w 1524000"/>
              <a:gd name="connsiteY4" fmla="*/ 6350 h 587375"/>
              <a:gd name="connsiteX5" fmla="*/ 1421891 w 1524000"/>
              <a:gd name="connsiteY5" fmla="*/ 6350 h 587375"/>
              <a:gd name="connsiteX6" fmla="*/ 1517650 w 1524000"/>
              <a:gd name="connsiteY6" fmla="*/ 102108 h 587375"/>
              <a:gd name="connsiteX7" fmla="*/ 1517650 w 1524000"/>
              <a:gd name="connsiteY7" fmla="*/ 102108 h 587375"/>
              <a:gd name="connsiteX8" fmla="*/ 1517650 w 1524000"/>
              <a:gd name="connsiteY8" fmla="*/ 102108 h 587375"/>
              <a:gd name="connsiteX9" fmla="*/ 1517650 w 1524000"/>
              <a:gd name="connsiteY9" fmla="*/ 485266 h 587375"/>
              <a:gd name="connsiteX10" fmla="*/ 1517650 w 1524000"/>
              <a:gd name="connsiteY10" fmla="*/ 485266 h 587375"/>
              <a:gd name="connsiteX11" fmla="*/ 1421891 w 1524000"/>
              <a:gd name="connsiteY11" fmla="*/ 581025 h 587375"/>
              <a:gd name="connsiteX12" fmla="*/ 1421891 w 1524000"/>
              <a:gd name="connsiteY12" fmla="*/ 581025 h 587375"/>
              <a:gd name="connsiteX13" fmla="*/ 1421891 w 1524000"/>
              <a:gd name="connsiteY13" fmla="*/ 581025 h 587375"/>
              <a:gd name="connsiteX14" fmla="*/ 102108 w 1524000"/>
              <a:gd name="connsiteY14" fmla="*/ 581025 h 587375"/>
              <a:gd name="connsiteX15" fmla="*/ 102108 w 1524000"/>
              <a:gd name="connsiteY15" fmla="*/ 581025 h 587375"/>
              <a:gd name="connsiteX16" fmla="*/ 6350 w 1524000"/>
              <a:gd name="connsiteY16" fmla="*/ 485266 h 587375"/>
              <a:gd name="connsiteX17" fmla="*/ 6350 w 1524000"/>
              <a:gd name="connsiteY17" fmla="*/ 485266 h 587375"/>
              <a:gd name="connsiteX18" fmla="*/ 6350 w 1524000"/>
              <a:gd name="connsiteY18" fmla="*/ 102108 h 58737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1524000" h="587375">
                <a:moveTo>
                  <a:pt x="6350" y="102108"/>
                </a:moveTo>
                <a:cubicBezTo>
                  <a:pt x="6350" y="49276"/>
                  <a:pt x="49276" y="6350"/>
                  <a:pt x="102108" y="6350"/>
                </a:cubicBezTo>
                <a:cubicBezTo>
                  <a:pt x="102108" y="6350"/>
                  <a:pt x="102108" y="6350"/>
                  <a:pt x="102108" y="6350"/>
                </a:cubicBezTo>
                <a:lnTo>
                  <a:pt x="102108" y="6350"/>
                </a:lnTo>
                <a:lnTo>
                  <a:pt x="1421891" y="6350"/>
                </a:lnTo>
                <a:lnTo>
                  <a:pt x="1421891" y="6350"/>
                </a:lnTo>
                <a:cubicBezTo>
                  <a:pt x="1474723" y="6350"/>
                  <a:pt x="1517650" y="49276"/>
                  <a:pt x="1517650" y="102108"/>
                </a:cubicBezTo>
                <a:cubicBezTo>
                  <a:pt x="1517650" y="102108"/>
                  <a:pt x="1517650" y="102108"/>
                  <a:pt x="1517650" y="102108"/>
                </a:cubicBezTo>
                <a:lnTo>
                  <a:pt x="1517650" y="102108"/>
                </a:lnTo>
                <a:lnTo>
                  <a:pt x="1517650" y="485266"/>
                </a:lnTo>
                <a:lnTo>
                  <a:pt x="1517650" y="485266"/>
                </a:lnTo>
                <a:cubicBezTo>
                  <a:pt x="1517650" y="538098"/>
                  <a:pt x="1474723" y="581025"/>
                  <a:pt x="1421891" y="581025"/>
                </a:cubicBezTo>
                <a:cubicBezTo>
                  <a:pt x="1421891" y="581025"/>
                  <a:pt x="1421891" y="581025"/>
                  <a:pt x="1421891" y="581025"/>
                </a:cubicBezTo>
                <a:lnTo>
                  <a:pt x="1421891" y="581025"/>
                </a:lnTo>
                <a:lnTo>
                  <a:pt x="102108" y="581025"/>
                </a:lnTo>
                <a:lnTo>
                  <a:pt x="102108" y="581025"/>
                </a:lnTo>
                <a:cubicBezTo>
                  <a:pt x="49276" y="581025"/>
                  <a:pt x="6350" y="538098"/>
                  <a:pt x="6350" y="485266"/>
                </a:cubicBezTo>
                <a:cubicBezTo>
                  <a:pt x="6350" y="485266"/>
                  <a:pt x="6350" y="485266"/>
                  <a:pt x="6350" y="485266"/>
                </a:cubicBezTo>
                <a:lnTo>
                  <a:pt x="6350" y="102108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24" name="Freeform 3"/>
          <p:cNvSpPr/>
          <p:nvPr/>
        </p:nvSpPr>
        <p:spPr>
          <a:xfrm>
            <a:off x="4339203" y="2019555"/>
            <a:ext cx="211590" cy="1129581"/>
          </a:xfrm>
          <a:custGeom>
            <a:avLst/>
            <a:gdLst>
              <a:gd name="connsiteX0" fmla="*/ 0 w 215900"/>
              <a:gd name="connsiteY0" fmla="*/ 667766 h 1152525"/>
              <a:gd name="connsiteX1" fmla="*/ 54864 w 215900"/>
              <a:gd name="connsiteY1" fmla="*/ 667766 h 1152525"/>
              <a:gd name="connsiteX2" fmla="*/ 54864 w 215900"/>
              <a:gd name="connsiteY2" fmla="*/ 0 h 1152525"/>
              <a:gd name="connsiteX3" fmla="*/ 160908 w 215900"/>
              <a:gd name="connsiteY3" fmla="*/ 0 h 1152525"/>
              <a:gd name="connsiteX4" fmla="*/ 160908 w 215900"/>
              <a:gd name="connsiteY4" fmla="*/ 667766 h 1152525"/>
              <a:gd name="connsiteX5" fmla="*/ 215900 w 215900"/>
              <a:gd name="connsiteY5" fmla="*/ 667766 h 1152525"/>
              <a:gd name="connsiteX6" fmla="*/ 107950 w 215900"/>
              <a:gd name="connsiteY6" fmla="*/ 1152525 h 1152525"/>
              <a:gd name="connsiteX7" fmla="*/ 0 w 215900"/>
              <a:gd name="connsiteY7" fmla="*/ 667766 h 115252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215900" h="1152525">
                <a:moveTo>
                  <a:pt x="0" y="667766"/>
                </a:moveTo>
                <a:lnTo>
                  <a:pt x="54864" y="667766"/>
                </a:lnTo>
                <a:lnTo>
                  <a:pt x="54864" y="0"/>
                </a:lnTo>
                <a:lnTo>
                  <a:pt x="160908" y="0"/>
                </a:lnTo>
                <a:lnTo>
                  <a:pt x="160908" y="667766"/>
                </a:lnTo>
                <a:lnTo>
                  <a:pt x="215900" y="667766"/>
                </a:lnTo>
                <a:lnTo>
                  <a:pt x="107950" y="1152525"/>
                </a:lnTo>
                <a:lnTo>
                  <a:pt x="0" y="667766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25" name="Freeform 3"/>
          <p:cNvSpPr/>
          <p:nvPr/>
        </p:nvSpPr>
        <p:spPr>
          <a:xfrm>
            <a:off x="4332980" y="2013331"/>
            <a:ext cx="224036" cy="1142028"/>
          </a:xfrm>
          <a:custGeom>
            <a:avLst/>
            <a:gdLst>
              <a:gd name="connsiteX0" fmla="*/ 6350 w 228600"/>
              <a:gd name="connsiteY0" fmla="*/ 674116 h 1165225"/>
              <a:gd name="connsiteX1" fmla="*/ 61214 w 228600"/>
              <a:gd name="connsiteY1" fmla="*/ 674116 h 1165225"/>
              <a:gd name="connsiteX2" fmla="*/ 61214 w 228600"/>
              <a:gd name="connsiteY2" fmla="*/ 6350 h 1165225"/>
              <a:gd name="connsiteX3" fmla="*/ 167258 w 228600"/>
              <a:gd name="connsiteY3" fmla="*/ 6350 h 1165225"/>
              <a:gd name="connsiteX4" fmla="*/ 167258 w 228600"/>
              <a:gd name="connsiteY4" fmla="*/ 674116 h 1165225"/>
              <a:gd name="connsiteX5" fmla="*/ 222250 w 228600"/>
              <a:gd name="connsiteY5" fmla="*/ 674116 h 1165225"/>
              <a:gd name="connsiteX6" fmla="*/ 114300 w 228600"/>
              <a:gd name="connsiteY6" fmla="*/ 1158875 h 1165225"/>
              <a:gd name="connsiteX7" fmla="*/ 6350 w 228600"/>
              <a:gd name="connsiteY7" fmla="*/ 674116 h 116522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228600" h="1165225">
                <a:moveTo>
                  <a:pt x="6350" y="674116"/>
                </a:moveTo>
                <a:lnTo>
                  <a:pt x="61214" y="674116"/>
                </a:lnTo>
                <a:lnTo>
                  <a:pt x="61214" y="6350"/>
                </a:lnTo>
                <a:lnTo>
                  <a:pt x="167258" y="6350"/>
                </a:lnTo>
                <a:lnTo>
                  <a:pt x="167258" y="674116"/>
                </a:lnTo>
                <a:lnTo>
                  <a:pt x="222250" y="674116"/>
                </a:lnTo>
                <a:lnTo>
                  <a:pt x="114300" y="1158875"/>
                </a:lnTo>
                <a:lnTo>
                  <a:pt x="6350" y="674116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26" name="Freeform 3"/>
          <p:cNvSpPr/>
          <p:nvPr/>
        </p:nvSpPr>
        <p:spPr>
          <a:xfrm>
            <a:off x="2574921" y="3219213"/>
            <a:ext cx="246687" cy="211602"/>
          </a:xfrm>
          <a:custGeom>
            <a:avLst/>
            <a:gdLst>
              <a:gd name="connsiteX0" fmla="*/ 0 w 251713"/>
              <a:gd name="connsiteY0" fmla="*/ 0 h 215900"/>
              <a:gd name="connsiteX1" fmla="*/ 167639 w 251713"/>
              <a:gd name="connsiteY1" fmla="*/ 0 h 215900"/>
              <a:gd name="connsiteX2" fmla="*/ 251713 w 251713"/>
              <a:gd name="connsiteY2" fmla="*/ 107950 h 215900"/>
              <a:gd name="connsiteX3" fmla="*/ 167639 w 251713"/>
              <a:gd name="connsiteY3" fmla="*/ 215900 h 215900"/>
              <a:gd name="connsiteX4" fmla="*/ 0 w 251713"/>
              <a:gd name="connsiteY4" fmla="*/ 215900 h 215900"/>
              <a:gd name="connsiteX5" fmla="*/ 83947 w 251713"/>
              <a:gd name="connsiteY5" fmla="*/ 107950 h 215900"/>
              <a:gd name="connsiteX6" fmla="*/ 0 w 251713"/>
              <a:gd name="connsiteY6" fmla="*/ 0 h 2159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51713" h="215900">
                <a:moveTo>
                  <a:pt x="0" y="0"/>
                </a:moveTo>
                <a:lnTo>
                  <a:pt x="167639" y="0"/>
                </a:lnTo>
                <a:lnTo>
                  <a:pt x="251713" y="107950"/>
                </a:lnTo>
                <a:lnTo>
                  <a:pt x="167639" y="215900"/>
                </a:lnTo>
                <a:lnTo>
                  <a:pt x="0" y="215900"/>
                </a:lnTo>
                <a:lnTo>
                  <a:pt x="83947" y="107950"/>
                </a:lnTo>
                <a:lnTo>
                  <a:pt x="0" y="0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28" name="Freeform 3"/>
          <p:cNvSpPr/>
          <p:nvPr/>
        </p:nvSpPr>
        <p:spPr>
          <a:xfrm>
            <a:off x="2568697" y="3212990"/>
            <a:ext cx="259134" cy="224049"/>
          </a:xfrm>
          <a:custGeom>
            <a:avLst/>
            <a:gdLst>
              <a:gd name="connsiteX0" fmla="*/ 6350 w 264413"/>
              <a:gd name="connsiteY0" fmla="*/ 6350 h 228600"/>
              <a:gd name="connsiteX1" fmla="*/ 173989 w 264413"/>
              <a:gd name="connsiteY1" fmla="*/ 6350 h 228600"/>
              <a:gd name="connsiteX2" fmla="*/ 258063 w 264413"/>
              <a:gd name="connsiteY2" fmla="*/ 114300 h 228600"/>
              <a:gd name="connsiteX3" fmla="*/ 173989 w 264413"/>
              <a:gd name="connsiteY3" fmla="*/ 222250 h 228600"/>
              <a:gd name="connsiteX4" fmla="*/ 6350 w 264413"/>
              <a:gd name="connsiteY4" fmla="*/ 222250 h 228600"/>
              <a:gd name="connsiteX5" fmla="*/ 90297 w 264413"/>
              <a:gd name="connsiteY5" fmla="*/ 114300 h 228600"/>
              <a:gd name="connsiteX6" fmla="*/ 6350 w 264413"/>
              <a:gd name="connsiteY6" fmla="*/ 6350 h 2286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64413" h="228600">
                <a:moveTo>
                  <a:pt x="6350" y="6350"/>
                </a:moveTo>
                <a:lnTo>
                  <a:pt x="173989" y="6350"/>
                </a:lnTo>
                <a:lnTo>
                  <a:pt x="258063" y="114300"/>
                </a:lnTo>
                <a:lnTo>
                  <a:pt x="173989" y="222250"/>
                </a:lnTo>
                <a:lnTo>
                  <a:pt x="6350" y="222250"/>
                </a:lnTo>
                <a:lnTo>
                  <a:pt x="90297" y="114300"/>
                </a:lnTo>
                <a:lnTo>
                  <a:pt x="6350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29" name="Freeform 3"/>
          <p:cNvSpPr/>
          <p:nvPr/>
        </p:nvSpPr>
        <p:spPr>
          <a:xfrm>
            <a:off x="3032948" y="3219213"/>
            <a:ext cx="246688" cy="211602"/>
          </a:xfrm>
          <a:custGeom>
            <a:avLst/>
            <a:gdLst>
              <a:gd name="connsiteX0" fmla="*/ 0 w 251714"/>
              <a:gd name="connsiteY0" fmla="*/ 0 h 215900"/>
              <a:gd name="connsiteX1" fmla="*/ 167767 w 251714"/>
              <a:gd name="connsiteY1" fmla="*/ 0 h 215900"/>
              <a:gd name="connsiteX2" fmla="*/ 251714 w 251714"/>
              <a:gd name="connsiteY2" fmla="*/ 107950 h 215900"/>
              <a:gd name="connsiteX3" fmla="*/ 167767 w 251714"/>
              <a:gd name="connsiteY3" fmla="*/ 215900 h 215900"/>
              <a:gd name="connsiteX4" fmla="*/ 0 w 251714"/>
              <a:gd name="connsiteY4" fmla="*/ 215900 h 215900"/>
              <a:gd name="connsiteX5" fmla="*/ 83947 w 251714"/>
              <a:gd name="connsiteY5" fmla="*/ 107950 h 215900"/>
              <a:gd name="connsiteX6" fmla="*/ 0 w 251714"/>
              <a:gd name="connsiteY6" fmla="*/ 0 h 2159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51714" h="215900">
                <a:moveTo>
                  <a:pt x="0" y="0"/>
                </a:moveTo>
                <a:lnTo>
                  <a:pt x="167767" y="0"/>
                </a:lnTo>
                <a:lnTo>
                  <a:pt x="251714" y="107950"/>
                </a:lnTo>
                <a:lnTo>
                  <a:pt x="167767" y="215900"/>
                </a:lnTo>
                <a:lnTo>
                  <a:pt x="0" y="215900"/>
                </a:lnTo>
                <a:lnTo>
                  <a:pt x="83947" y="107950"/>
                </a:lnTo>
                <a:lnTo>
                  <a:pt x="0" y="0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0" name="Freeform 3"/>
          <p:cNvSpPr/>
          <p:nvPr/>
        </p:nvSpPr>
        <p:spPr>
          <a:xfrm>
            <a:off x="3026725" y="3212990"/>
            <a:ext cx="259135" cy="224049"/>
          </a:xfrm>
          <a:custGeom>
            <a:avLst/>
            <a:gdLst>
              <a:gd name="connsiteX0" fmla="*/ 6350 w 264414"/>
              <a:gd name="connsiteY0" fmla="*/ 6350 h 228600"/>
              <a:gd name="connsiteX1" fmla="*/ 174117 w 264414"/>
              <a:gd name="connsiteY1" fmla="*/ 6350 h 228600"/>
              <a:gd name="connsiteX2" fmla="*/ 258064 w 264414"/>
              <a:gd name="connsiteY2" fmla="*/ 114300 h 228600"/>
              <a:gd name="connsiteX3" fmla="*/ 174117 w 264414"/>
              <a:gd name="connsiteY3" fmla="*/ 222250 h 228600"/>
              <a:gd name="connsiteX4" fmla="*/ 6350 w 264414"/>
              <a:gd name="connsiteY4" fmla="*/ 222250 h 228600"/>
              <a:gd name="connsiteX5" fmla="*/ 90297 w 264414"/>
              <a:gd name="connsiteY5" fmla="*/ 114300 h 228600"/>
              <a:gd name="connsiteX6" fmla="*/ 6350 w 264414"/>
              <a:gd name="connsiteY6" fmla="*/ 6350 h 2286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64414" h="228600">
                <a:moveTo>
                  <a:pt x="6350" y="6350"/>
                </a:moveTo>
                <a:lnTo>
                  <a:pt x="174117" y="6350"/>
                </a:lnTo>
                <a:lnTo>
                  <a:pt x="258064" y="114300"/>
                </a:lnTo>
                <a:lnTo>
                  <a:pt x="174117" y="222250"/>
                </a:lnTo>
                <a:lnTo>
                  <a:pt x="6350" y="222250"/>
                </a:lnTo>
                <a:lnTo>
                  <a:pt x="90297" y="114300"/>
                </a:lnTo>
                <a:lnTo>
                  <a:pt x="6350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1" name="Freeform 3"/>
          <p:cNvSpPr/>
          <p:nvPr/>
        </p:nvSpPr>
        <p:spPr>
          <a:xfrm>
            <a:off x="2804058" y="3219213"/>
            <a:ext cx="246688" cy="211602"/>
          </a:xfrm>
          <a:custGeom>
            <a:avLst/>
            <a:gdLst>
              <a:gd name="connsiteX0" fmla="*/ 0 w 251714"/>
              <a:gd name="connsiteY0" fmla="*/ 0 h 215900"/>
              <a:gd name="connsiteX1" fmla="*/ 167767 w 251714"/>
              <a:gd name="connsiteY1" fmla="*/ 0 h 215900"/>
              <a:gd name="connsiteX2" fmla="*/ 251714 w 251714"/>
              <a:gd name="connsiteY2" fmla="*/ 107950 h 215900"/>
              <a:gd name="connsiteX3" fmla="*/ 167767 w 251714"/>
              <a:gd name="connsiteY3" fmla="*/ 215900 h 215900"/>
              <a:gd name="connsiteX4" fmla="*/ 0 w 251714"/>
              <a:gd name="connsiteY4" fmla="*/ 215900 h 215900"/>
              <a:gd name="connsiteX5" fmla="*/ 84074 w 251714"/>
              <a:gd name="connsiteY5" fmla="*/ 107950 h 215900"/>
              <a:gd name="connsiteX6" fmla="*/ 0 w 251714"/>
              <a:gd name="connsiteY6" fmla="*/ 0 h 2159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51714" h="215900">
                <a:moveTo>
                  <a:pt x="0" y="0"/>
                </a:moveTo>
                <a:lnTo>
                  <a:pt x="167767" y="0"/>
                </a:lnTo>
                <a:lnTo>
                  <a:pt x="251714" y="107950"/>
                </a:lnTo>
                <a:lnTo>
                  <a:pt x="167767" y="215900"/>
                </a:lnTo>
                <a:lnTo>
                  <a:pt x="0" y="215900"/>
                </a:lnTo>
                <a:lnTo>
                  <a:pt x="84074" y="107950"/>
                </a:lnTo>
                <a:lnTo>
                  <a:pt x="0" y="0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2" name="Freeform 3"/>
          <p:cNvSpPr/>
          <p:nvPr/>
        </p:nvSpPr>
        <p:spPr>
          <a:xfrm>
            <a:off x="2797835" y="3212990"/>
            <a:ext cx="259135" cy="224049"/>
          </a:xfrm>
          <a:custGeom>
            <a:avLst/>
            <a:gdLst>
              <a:gd name="connsiteX0" fmla="*/ 6350 w 264414"/>
              <a:gd name="connsiteY0" fmla="*/ 6350 h 228600"/>
              <a:gd name="connsiteX1" fmla="*/ 174117 w 264414"/>
              <a:gd name="connsiteY1" fmla="*/ 6350 h 228600"/>
              <a:gd name="connsiteX2" fmla="*/ 258064 w 264414"/>
              <a:gd name="connsiteY2" fmla="*/ 114300 h 228600"/>
              <a:gd name="connsiteX3" fmla="*/ 174117 w 264414"/>
              <a:gd name="connsiteY3" fmla="*/ 222250 h 228600"/>
              <a:gd name="connsiteX4" fmla="*/ 6350 w 264414"/>
              <a:gd name="connsiteY4" fmla="*/ 222250 h 228600"/>
              <a:gd name="connsiteX5" fmla="*/ 90424 w 264414"/>
              <a:gd name="connsiteY5" fmla="*/ 114300 h 228600"/>
              <a:gd name="connsiteX6" fmla="*/ 6350 w 264414"/>
              <a:gd name="connsiteY6" fmla="*/ 6350 h 2286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64414" h="228600">
                <a:moveTo>
                  <a:pt x="6350" y="6350"/>
                </a:moveTo>
                <a:lnTo>
                  <a:pt x="174117" y="6350"/>
                </a:lnTo>
                <a:lnTo>
                  <a:pt x="258064" y="114300"/>
                </a:lnTo>
                <a:lnTo>
                  <a:pt x="174117" y="222250"/>
                </a:lnTo>
                <a:lnTo>
                  <a:pt x="6350" y="222250"/>
                </a:lnTo>
                <a:lnTo>
                  <a:pt x="90424" y="114300"/>
                </a:lnTo>
                <a:lnTo>
                  <a:pt x="6350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3" name="Freeform 3"/>
          <p:cNvSpPr/>
          <p:nvPr/>
        </p:nvSpPr>
        <p:spPr>
          <a:xfrm>
            <a:off x="4903898" y="2019555"/>
            <a:ext cx="281538" cy="1835958"/>
          </a:xfrm>
          <a:custGeom>
            <a:avLst/>
            <a:gdLst>
              <a:gd name="connsiteX0" fmla="*/ 0 w 287273"/>
              <a:gd name="connsiteY0" fmla="*/ 1085342 h 1873250"/>
              <a:gd name="connsiteX1" fmla="*/ 73152 w 287273"/>
              <a:gd name="connsiteY1" fmla="*/ 1085342 h 1873250"/>
              <a:gd name="connsiteX2" fmla="*/ 73152 w 287273"/>
              <a:gd name="connsiteY2" fmla="*/ 0 h 1873250"/>
              <a:gd name="connsiteX3" fmla="*/ 214248 w 287273"/>
              <a:gd name="connsiteY3" fmla="*/ 0 h 1873250"/>
              <a:gd name="connsiteX4" fmla="*/ 214248 w 287273"/>
              <a:gd name="connsiteY4" fmla="*/ 1085342 h 1873250"/>
              <a:gd name="connsiteX5" fmla="*/ 287273 w 287273"/>
              <a:gd name="connsiteY5" fmla="*/ 1085342 h 1873250"/>
              <a:gd name="connsiteX6" fmla="*/ 143636 w 287273"/>
              <a:gd name="connsiteY6" fmla="*/ 1873250 h 1873250"/>
              <a:gd name="connsiteX7" fmla="*/ 0 w 287273"/>
              <a:gd name="connsiteY7" fmla="*/ 1085342 h 187325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287273" h="1873250">
                <a:moveTo>
                  <a:pt x="0" y="1085342"/>
                </a:moveTo>
                <a:lnTo>
                  <a:pt x="73152" y="1085342"/>
                </a:lnTo>
                <a:lnTo>
                  <a:pt x="73152" y="0"/>
                </a:lnTo>
                <a:lnTo>
                  <a:pt x="214248" y="0"/>
                </a:lnTo>
                <a:lnTo>
                  <a:pt x="214248" y="1085342"/>
                </a:lnTo>
                <a:lnTo>
                  <a:pt x="287273" y="1085342"/>
                </a:lnTo>
                <a:lnTo>
                  <a:pt x="143636" y="1873250"/>
                </a:lnTo>
                <a:lnTo>
                  <a:pt x="0" y="1085342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4" name="Freeform 3"/>
          <p:cNvSpPr/>
          <p:nvPr/>
        </p:nvSpPr>
        <p:spPr>
          <a:xfrm>
            <a:off x="4897675" y="2013331"/>
            <a:ext cx="293984" cy="1848406"/>
          </a:xfrm>
          <a:custGeom>
            <a:avLst/>
            <a:gdLst>
              <a:gd name="connsiteX0" fmla="*/ 6350 w 299973"/>
              <a:gd name="connsiteY0" fmla="*/ 1091692 h 1885950"/>
              <a:gd name="connsiteX1" fmla="*/ 79502 w 299973"/>
              <a:gd name="connsiteY1" fmla="*/ 1091692 h 1885950"/>
              <a:gd name="connsiteX2" fmla="*/ 79502 w 299973"/>
              <a:gd name="connsiteY2" fmla="*/ 6350 h 1885950"/>
              <a:gd name="connsiteX3" fmla="*/ 220598 w 299973"/>
              <a:gd name="connsiteY3" fmla="*/ 6350 h 1885950"/>
              <a:gd name="connsiteX4" fmla="*/ 220598 w 299973"/>
              <a:gd name="connsiteY4" fmla="*/ 1091692 h 1885950"/>
              <a:gd name="connsiteX5" fmla="*/ 293623 w 299973"/>
              <a:gd name="connsiteY5" fmla="*/ 1091692 h 1885950"/>
              <a:gd name="connsiteX6" fmla="*/ 149986 w 299973"/>
              <a:gd name="connsiteY6" fmla="*/ 1879600 h 1885950"/>
              <a:gd name="connsiteX7" fmla="*/ 6350 w 299973"/>
              <a:gd name="connsiteY7" fmla="*/ 1091692 h 188595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299973" h="1885950">
                <a:moveTo>
                  <a:pt x="6350" y="1091692"/>
                </a:moveTo>
                <a:lnTo>
                  <a:pt x="79502" y="1091692"/>
                </a:lnTo>
                <a:lnTo>
                  <a:pt x="79502" y="6350"/>
                </a:lnTo>
                <a:lnTo>
                  <a:pt x="220598" y="6350"/>
                </a:lnTo>
                <a:lnTo>
                  <a:pt x="220598" y="1091692"/>
                </a:lnTo>
                <a:lnTo>
                  <a:pt x="293623" y="1091692"/>
                </a:lnTo>
                <a:lnTo>
                  <a:pt x="149986" y="1879600"/>
                </a:lnTo>
                <a:lnTo>
                  <a:pt x="6350" y="1091692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5" name="Freeform 3"/>
          <p:cNvSpPr/>
          <p:nvPr/>
        </p:nvSpPr>
        <p:spPr>
          <a:xfrm>
            <a:off x="3914406" y="3855513"/>
            <a:ext cx="1341104" cy="423204"/>
          </a:xfrm>
          <a:custGeom>
            <a:avLst/>
            <a:gdLst>
              <a:gd name="connsiteX0" fmla="*/ 0 w 1368425"/>
              <a:gd name="connsiteY0" fmla="*/ 72009 h 431800"/>
              <a:gd name="connsiteX1" fmla="*/ 72009 w 1368425"/>
              <a:gd name="connsiteY1" fmla="*/ 0 h 431800"/>
              <a:gd name="connsiteX2" fmla="*/ 72009 w 1368425"/>
              <a:gd name="connsiteY2" fmla="*/ 0 h 431800"/>
              <a:gd name="connsiteX3" fmla="*/ 72009 w 1368425"/>
              <a:gd name="connsiteY3" fmla="*/ 0 h 431800"/>
              <a:gd name="connsiteX4" fmla="*/ 1296415 w 1368425"/>
              <a:gd name="connsiteY4" fmla="*/ 0 h 431800"/>
              <a:gd name="connsiteX5" fmla="*/ 1296415 w 1368425"/>
              <a:gd name="connsiteY5" fmla="*/ 0 h 431800"/>
              <a:gd name="connsiteX6" fmla="*/ 1368425 w 1368425"/>
              <a:gd name="connsiteY6" fmla="*/ 72009 h 431800"/>
              <a:gd name="connsiteX7" fmla="*/ 1368425 w 1368425"/>
              <a:gd name="connsiteY7" fmla="*/ 72009 h 431800"/>
              <a:gd name="connsiteX8" fmla="*/ 1368425 w 1368425"/>
              <a:gd name="connsiteY8" fmla="*/ 72009 h 431800"/>
              <a:gd name="connsiteX9" fmla="*/ 1368425 w 1368425"/>
              <a:gd name="connsiteY9" fmla="*/ 359790 h 431800"/>
              <a:gd name="connsiteX10" fmla="*/ 1368425 w 1368425"/>
              <a:gd name="connsiteY10" fmla="*/ 359790 h 431800"/>
              <a:gd name="connsiteX11" fmla="*/ 1296415 w 1368425"/>
              <a:gd name="connsiteY11" fmla="*/ 431800 h 431800"/>
              <a:gd name="connsiteX12" fmla="*/ 1296415 w 1368425"/>
              <a:gd name="connsiteY12" fmla="*/ 431800 h 431800"/>
              <a:gd name="connsiteX13" fmla="*/ 1296415 w 1368425"/>
              <a:gd name="connsiteY13" fmla="*/ 431800 h 431800"/>
              <a:gd name="connsiteX14" fmla="*/ 72009 w 1368425"/>
              <a:gd name="connsiteY14" fmla="*/ 431800 h 431800"/>
              <a:gd name="connsiteX15" fmla="*/ 72009 w 1368425"/>
              <a:gd name="connsiteY15" fmla="*/ 431800 h 431800"/>
              <a:gd name="connsiteX16" fmla="*/ 0 w 1368425"/>
              <a:gd name="connsiteY16" fmla="*/ 359790 h 431800"/>
              <a:gd name="connsiteX17" fmla="*/ 0 w 1368425"/>
              <a:gd name="connsiteY17" fmla="*/ 359790 h 431800"/>
              <a:gd name="connsiteX18" fmla="*/ 0 w 1368425"/>
              <a:gd name="connsiteY18" fmla="*/ 72009 h 4318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1368425" h="431800">
                <a:moveTo>
                  <a:pt x="0" y="72009"/>
                </a:moveTo>
                <a:cubicBezTo>
                  <a:pt x="0" y="32258"/>
                  <a:pt x="32258" y="0"/>
                  <a:pt x="72009" y="0"/>
                </a:cubicBezTo>
                <a:cubicBezTo>
                  <a:pt x="72009" y="0"/>
                  <a:pt x="72009" y="0"/>
                  <a:pt x="72009" y="0"/>
                </a:cubicBezTo>
                <a:lnTo>
                  <a:pt x="72009" y="0"/>
                </a:lnTo>
                <a:lnTo>
                  <a:pt x="1296415" y="0"/>
                </a:lnTo>
                <a:lnTo>
                  <a:pt x="1296415" y="0"/>
                </a:lnTo>
                <a:cubicBezTo>
                  <a:pt x="1336166" y="0"/>
                  <a:pt x="1368425" y="32258"/>
                  <a:pt x="1368425" y="72009"/>
                </a:cubicBezTo>
                <a:cubicBezTo>
                  <a:pt x="1368425" y="72009"/>
                  <a:pt x="1368425" y="72009"/>
                  <a:pt x="1368425" y="72009"/>
                </a:cubicBezTo>
                <a:lnTo>
                  <a:pt x="1368425" y="72009"/>
                </a:lnTo>
                <a:lnTo>
                  <a:pt x="1368425" y="359790"/>
                </a:lnTo>
                <a:lnTo>
                  <a:pt x="1368425" y="359790"/>
                </a:lnTo>
                <a:cubicBezTo>
                  <a:pt x="1368425" y="399541"/>
                  <a:pt x="1336166" y="431800"/>
                  <a:pt x="1296415" y="431800"/>
                </a:cubicBezTo>
                <a:cubicBezTo>
                  <a:pt x="1296415" y="431800"/>
                  <a:pt x="1296415" y="431800"/>
                  <a:pt x="1296415" y="431800"/>
                </a:cubicBezTo>
                <a:lnTo>
                  <a:pt x="1296415" y="431800"/>
                </a:lnTo>
                <a:lnTo>
                  <a:pt x="72009" y="431800"/>
                </a:lnTo>
                <a:lnTo>
                  <a:pt x="72009" y="431800"/>
                </a:lnTo>
                <a:cubicBezTo>
                  <a:pt x="32258" y="431800"/>
                  <a:pt x="0" y="399541"/>
                  <a:pt x="0" y="359790"/>
                </a:cubicBezTo>
                <a:cubicBezTo>
                  <a:pt x="0" y="359790"/>
                  <a:pt x="0" y="359790"/>
                  <a:pt x="0" y="359790"/>
                </a:cubicBezTo>
                <a:lnTo>
                  <a:pt x="0" y="72009"/>
                </a:lnTo>
              </a:path>
            </a:pathLst>
          </a:custGeom>
          <a:solidFill>
            <a:srgbClr val="DEDED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6" name="Freeform 3"/>
          <p:cNvSpPr/>
          <p:nvPr/>
        </p:nvSpPr>
        <p:spPr>
          <a:xfrm>
            <a:off x="3908183" y="3849289"/>
            <a:ext cx="1353551" cy="435651"/>
          </a:xfrm>
          <a:custGeom>
            <a:avLst/>
            <a:gdLst>
              <a:gd name="connsiteX0" fmla="*/ 6350 w 1381125"/>
              <a:gd name="connsiteY0" fmla="*/ 78359 h 444500"/>
              <a:gd name="connsiteX1" fmla="*/ 78359 w 1381125"/>
              <a:gd name="connsiteY1" fmla="*/ 6350 h 444500"/>
              <a:gd name="connsiteX2" fmla="*/ 78359 w 1381125"/>
              <a:gd name="connsiteY2" fmla="*/ 6350 h 444500"/>
              <a:gd name="connsiteX3" fmla="*/ 78359 w 1381125"/>
              <a:gd name="connsiteY3" fmla="*/ 6350 h 444500"/>
              <a:gd name="connsiteX4" fmla="*/ 1302765 w 1381125"/>
              <a:gd name="connsiteY4" fmla="*/ 6350 h 444500"/>
              <a:gd name="connsiteX5" fmla="*/ 1302765 w 1381125"/>
              <a:gd name="connsiteY5" fmla="*/ 6350 h 444500"/>
              <a:gd name="connsiteX6" fmla="*/ 1374775 w 1381125"/>
              <a:gd name="connsiteY6" fmla="*/ 78359 h 444500"/>
              <a:gd name="connsiteX7" fmla="*/ 1374775 w 1381125"/>
              <a:gd name="connsiteY7" fmla="*/ 78359 h 444500"/>
              <a:gd name="connsiteX8" fmla="*/ 1374775 w 1381125"/>
              <a:gd name="connsiteY8" fmla="*/ 78359 h 444500"/>
              <a:gd name="connsiteX9" fmla="*/ 1374775 w 1381125"/>
              <a:gd name="connsiteY9" fmla="*/ 366140 h 444500"/>
              <a:gd name="connsiteX10" fmla="*/ 1374775 w 1381125"/>
              <a:gd name="connsiteY10" fmla="*/ 366140 h 444500"/>
              <a:gd name="connsiteX11" fmla="*/ 1302765 w 1381125"/>
              <a:gd name="connsiteY11" fmla="*/ 438150 h 444500"/>
              <a:gd name="connsiteX12" fmla="*/ 1302765 w 1381125"/>
              <a:gd name="connsiteY12" fmla="*/ 438150 h 444500"/>
              <a:gd name="connsiteX13" fmla="*/ 1302765 w 1381125"/>
              <a:gd name="connsiteY13" fmla="*/ 438150 h 444500"/>
              <a:gd name="connsiteX14" fmla="*/ 78359 w 1381125"/>
              <a:gd name="connsiteY14" fmla="*/ 438150 h 444500"/>
              <a:gd name="connsiteX15" fmla="*/ 78359 w 1381125"/>
              <a:gd name="connsiteY15" fmla="*/ 438150 h 444500"/>
              <a:gd name="connsiteX16" fmla="*/ 6350 w 1381125"/>
              <a:gd name="connsiteY16" fmla="*/ 366140 h 444500"/>
              <a:gd name="connsiteX17" fmla="*/ 6350 w 1381125"/>
              <a:gd name="connsiteY17" fmla="*/ 366140 h 444500"/>
              <a:gd name="connsiteX18" fmla="*/ 6350 w 1381125"/>
              <a:gd name="connsiteY18" fmla="*/ 78359 h 4445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1381125" h="444500">
                <a:moveTo>
                  <a:pt x="6350" y="78359"/>
                </a:moveTo>
                <a:cubicBezTo>
                  <a:pt x="6350" y="38608"/>
                  <a:pt x="38608" y="6350"/>
                  <a:pt x="78359" y="6350"/>
                </a:cubicBezTo>
                <a:cubicBezTo>
                  <a:pt x="78359" y="6350"/>
                  <a:pt x="78359" y="6350"/>
                  <a:pt x="78359" y="6350"/>
                </a:cubicBezTo>
                <a:lnTo>
                  <a:pt x="78359" y="6350"/>
                </a:lnTo>
                <a:lnTo>
                  <a:pt x="1302765" y="6350"/>
                </a:lnTo>
                <a:lnTo>
                  <a:pt x="1302765" y="6350"/>
                </a:lnTo>
                <a:cubicBezTo>
                  <a:pt x="1342516" y="6350"/>
                  <a:pt x="1374775" y="38608"/>
                  <a:pt x="1374775" y="78359"/>
                </a:cubicBezTo>
                <a:cubicBezTo>
                  <a:pt x="1374775" y="78359"/>
                  <a:pt x="1374775" y="78359"/>
                  <a:pt x="1374775" y="78359"/>
                </a:cubicBezTo>
                <a:lnTo>
                  <a:pt x="1374775" y="78359"/>
                </a:lnTo>
                <a:lnTo>
                  <a:pt x="1374775" y="366140"/>
                </a:lnTo>
                <a:lnTo>
                  <a:pt x="1374775" y="366140"/>
                </a:lnTo>
                <a:cubicBezTo>
                  <a:pt x="1374775" y="405891"/>
                  <a:pt x="1342516" y="438150"/>
                  <a:pt x="1302765" y="438150"/>
                </a:cubicBezTo>
                <a:cubicBezTo>
                  <a:pt x="1302765" y="438150"/>
                  <a:pt x="1302765" y="438150"/>
                  <a:pt x="1302765" y="438150"/>
                </a:cubicBezTo>
                <a:lnTo>
                  <a:pt x="1302765" y="438150"/>
                </a:lnTo>
                <a:lnTo>
                  <a:pt x="78359" y="438150"/>
                </a:lnTo>
                <a:lnTo>
                  <a:pt x="78359" y="438150"/>
                </a:lnTo>
                <a:cubicBezTo>
                  <a:pt x="38608" y="438150"/>
                  <a:pt x="6350" y="405891"/>
                  <a:pt x="6350" y="366140"/>
                </a:cubicBezTo>
                <a:cubicBezTo>
                  <a:pt x="6350" y="366140"/>
                  <a:pt x="6350" y="366140"/>
                  <a:pt x="6350" y="366140"/>
                </a:cubicBezTo>
                <a:lnTo>
                  <a:pt x="6350" y="78359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7" name="Freeform 3"/>
          <p:cNvSpPr/>
          <p:nvPr/>
        </p:nvSpPr>
        <p:spPr>
          <a:xfrm>
            <a:off x="2574920" y="3925465"/>
            <a:ext cx="468856" cy="211602"/>
          </a:xfrm>
          <a:custGeom>
            <a:avLst/>
            <a:gdLst>
              <a:gd name="connsiteX0" fmla="*/ 0 w 478408"/>
              <a:gd name="connsiteY0" fmla="*/ 0 h 215900"/>
              <a:gd name="connsiteX1" fmla="*/ 394461 w 478408"/>
              <a:gd name="connsiteY1" fmla="*/ 0 h 215900"/>
              <a:gd name="connsiteX2" fmla="*/ 478408 w 478408"/>
              <a:gd name="connsiteY2" fmla="*/ 107950 h 215900"/>
              <a:gd name="connsiteX3" fmla="*/ 394461 w 478408"/>
              <a:gd name="connsiteY3" fmla="*/ 215900 h 215900"/>
              <a:gd name="connsiteX4" fmla="*/ 0 w 478408"/>
              <a:gd name="connsiteY4" fmla="*/ 215900 h 215900"/>
              <a:gd name="connsiteX5" fmla="*/ 83947 w 478408"/>
              <a:gd name="connsiteY5" fmla="*/ 107950 h 215900"/>
              <a:gd name="connsiteX6" fmla="*/ 0 w 478408"/>
              <a:gd name="connsiteY6" fmla="*/ 0 h 2159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478408" h="215900">
                <a:moveTo>
                  <a:pt x="0" y="0"/>
                </a:moveTo>
                <a:lnTo>
                  <a:pt x="394461" y="0"/>
                </a:lnTo>
                <a:lnTo>
                  <a:pt x="478408" y="107950"/>
                </a:lnTo>
                <a:lnTo>
                  <a:pt x="394461" y="215900"/>
                </a:lnTo>
                <a:lnTo>
                  <a:pt x="0" y="215900"/>
                </a:lnTo>
                <a:lnTo>
                  <a:pt x="83947" y="107950"/>
                </a:lnTo>
                <a:lnTo>
                  <a:pt x="0" y="0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8" name="Freeform 3"/>
          <p:cNvSpPr/>
          <p:nvPr/>
        </p:nvSpPr>
        <p:spPr>
          <a:xfrm>
            <a:off x="2568697" y="3919241"/>
            <a:ext cx="481303" cy="224049"/>
          </a:xfrm>
          <a:custGeom>
            <a:avLst/>
            <a:gdLst>
              <a:gd name="connsiteX0" fmla="*/ 6350 w 491108"/>
              <a:gd name="connsiteY0" fmla="*/ 6350 h 228600"/>
              <a:gd name="connsiteX1" fmla="*/ 400811 w 491108"/>
              <a:gd name="connsiteY1" fmla="*/ 6350 h 228600"/>
              <a:gd name="connsiteX2" fmla="*/ 484758 w 491108"/>
              <a:gd name="connsiteY2" fmla="*/ 114300 h 228600"/>
              <a:gd name="connsiteX3" fmla="*/ 400811 w 491108"/>
              <a:gd name="connsiteY3" fmla="*/ 222250 h 228600"/>
              <a:gd name="connsiteX4" fmla="*/ 6350 w 491108"/>
              <a:gd name="connsiteY4" fmla="*/ 222250 h 228600"/>
              <a:gd name="connsiteX5" fmla="*/ 90297 w 491108"/>
              <a:gd name="connsiteY5" fmla="*/ 114300 h 228600"/>
              <a:gd name="connsiteX6" fmla="*/ 6350 w 491108"/>
              <a:gd name="connsiteY6" fmla="*/ 6350 h 2286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491108" h="228600">
                <a:moveTo>
                  <a:pt x="6350" y="6350"/>
                </a:moveTo>
                <a:lnTo>
                  <a:pt x="400811" y="6350"/>
                </a:lnTo>
                <a:lnTo>
                  <a:pt x="484758" y="114300"/>
                </a:lnTo>
                <a:lnTo>
                  <a:pt x="400811" y="222250"/>
                </a:lnTo>
                <a:lnTo>
                  <a:pt x="6350" y="222250"/>
                </a:lnTo>
                <a:lnTo>
                  <a:pt x="90297" y="114300"/>
                </a:lnTo>
                <a:lnTo>
                  <a:pt x="6350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9" name="Freeform 3"/>
          <p:cNvSpPr/>
          <p:nvPr/>
        </p:nvSpPr>
        <p:spPr>
          <a:xfrm>
            <a:off x="3445548" y="3925465"/>
            <a:ext cx="468857" cy="211602"/>
          </a:xfrm>
          <a:custGeom>
            <a:avLst/>
            <a:gdLst>
              <a:gd name="connsiteX0" fmla="*/ 0 w 478409"/>
              <a:gd name="connsiteY0" fmla="*/ 0 h 215900"/>
              <a:gd name="connsiteX1" fmla="*/ 394462 w 478409"/>
              <a:gd name="connsiteY1" fmla="*/ 0 h 215900"/>
              <a:gd name="connsiteX2" fmla="*/ 478409 w 478409"/>
              <a:gd name="connsiteY2" fmla="*/ 107950 h 215900"/>
              <a:gd name="connsiteX3" fmla="*/ 394462 w 478409"/>
              <a:gd name="connsiteY3" fmla="*/ 215900 h 215900"/>
              <a:gd name="connsiteX4" fmla="*/ 0 w 478409"/>
              <a:gd name="connsiteY4" fmla="*/ 215900 h 215900"/>
              <a:gd name="connsiteX5" fmla="*/ 83947 w 478409"/>
              <a:gd name="connsiteY5" fmla="*/ 107950 h 215900"/>
              <a:gd name="connsiteX6" fmla="*/ 0 w 478409"/>
              <a:gd name="connsiteY6" fmla="*/ 0 h 2159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478409" h="215900">
                <a:moveTo>
                  <a:pt x="0" y="0"/>
                </a:moveTo>
                <a:lnTo>
                  <a:pt x="394462" y="0"/>
                </a:lnTo>
                <a:lnTo>
                  <a:pt x="478409" y="107950"/>
                </a:lnTo>
                <a:lnTo>
                  <a:pt x="394462" y="215900"/>
                </a:lnTo>
                <a:lnTo>
                  <a:pt x="0" y="215900"/>
                </a:lnTo>
                <a:lnTo>
                  <a:pt x="83947" y="107950"/>
                </a:lnTo>
                <a:lnTo>
                  <a:pt x="0" y="0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40" name="Freeform 3"/>
          <p:cNvSpPr/>
          <p:nvPr/>
        </p:nvSpPr>
        <p:spPr>
          <a:xfrm>
            <a:off x="3439325" y="3919241"/>
            <a:ext cx="481304" cy="224049"/>
          </a:xfrm>
          <a:custGeom>
            <a:avLst/>
            <a:gdLst>
              <a:gd name="connsiteX0" fmla="*/ 6350 w 491109"/>
              <a:gd name="connsiteY0" fmla="*/ 6350 h 228600"/>
              <a:gd name="connsiteX1" fmla="*/ 400812 w 491109"/>
              <a:gd name="connsiteY1" fmla="*/ 6350 h 228600"/>
              <a:gd name="connsiteX2" fmla="*/ 484759 w 491109"/>
              <a:gd name="connsiteY2" fmla="*/ 114300 h 228600"/>
              <a:gd name="connsiteX3" fmla="*/ 400812 w 491109"/>
              <a:gd name="connsiteY3" fmla="*/ 222250 h 228600"/>
              <a:gd name="connsiteX4" fmla="*/ 6350 w 491109"/>
              <a:gd name="connsiteY4" fmla="*/ 222250 h 228600"/>
              <a:gd name="connsiteX5" fmla="*/ 90297 w 491109"/>
              <a:gd name="connsiteY5" fmla="*/ 114300 h 228600"/>
              <a:gd name="connsiteX6" fmla="*/ 6350 w 491109"/>
              <a:gd name="connsiteY6" fmla="*/ 6350 h 2286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491109" h="228600">
                <a:moveTo>
                  <a:pt x="6350" y="6350"/>
                </a:moveTo>
                <a:lnTo>
                  <a:pt x="400812" y="6350"/>
                </a:lnTo>
                <a:lnTo>
                  <a:pt x="484759" y="114300"/>
                </a:lnTo>
                <a:lnTo>
                  <a:pt x="400812" y="222250"/>
                </a:lnTo>
                <a:lnTo>
                  <a:pt x="6350" y="222250"/>
                </a:lnTo>
                <a:lnTo>
                  <a:pt x="90297" y="114300"/>
                </a:lnTo>
                <a:lnTo>
                  <a:pt x="6350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41" name="Freeform 3"/>
          <p:cNvSpPr/>
          <p:nvPr/>
        </p:nvSpPr>
        <p:spPr>
          <a:xfrm>
            <a:off x="3010546" y="3925465"/>
            <a:ext cx="468856" cy="211602"/>
          </a:xfrm>
          <a:custGeom>
            <a:avLst/>
            <a:gdLst>
              <a:gd name="connsiteX0" fmla="*/ 0 w 478408"/>
              <a:gd name="connsiteY0" fmla="*/ 0 h 215900"/>
              <a:gd name="connsiteX1" fmla="*/ 394461 w 478408"/>
              <a:gd name="connsiteY1" fmla="*/ 0 h 215900"/>
              <a:gd name="connsiteX2" fmla="*/ 478408 w 478408"/>
              <a:gd name="connsiteY2" fmla="*/ 107950 h 215900"/>
              <a:gd name="connsiteX3" fmla="*/ 394461 w 478408"/>
              <a:gd name="connsiteY3" fmla="*/ 215900 h 215900"/>
              <a:gd name="connsiteX4" fmla="*/ 0 w 478408"/>
              <a:gd name="connsiteY4" fmla="*/ 215900 h 215900"/>
              <a:gd name="connsiteX5" fmla="*/ 83947 w 478408"/>
              <a:gd name="connsiteY5" fmla="*/ 107950 h 215900"/>
              <a:gd name="connsiteX6" fmla="*/ 0 w 478408"/>
              <a:gd name="connsiteY6" fmla="*/ 0 h 2159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478408" h="215900">
                <a:moveTo>
                  <a:pt x="0" y="0"/>
                </a:moveTo>
                <a:lnTo>
                  <a:pt x="394461" y="0"/>
                </a:lnTo>
                <a:lnTo>
                  <a:pt x="478408" y="107950"/>
                </a:lnTo>
                <a:lnTo>
                  <a:pt x="394461" y="215900"/>
                </a:lnTo>
                <a:lnTo>
                  <a:pt x="0" y="215900"/>
                </a:lnTo>
                <a:lnTo>
                  <a:pt x="83947" y="107950"/>
                </a:lnTo>
                <a:lnTo>
                  <a:pt x="0" y="0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42" name="Freeform 3"/>
          <p:cNvSpPr/>
          <p:nvPr/>
        </p:nvSpPr>
        <p:spPr>
          <a:xfrm>
            <a:off x="3004322" y="3919241"/>
            <a:ext cx="481303" cy="224049"/>
          </a:xfrm>
          <a:custGeom>
            <a:avLst/>
            <a:gdLst>
              <a:gd name="connsiteX0" fmla="*/ 6350 w 491108"/>
              <a:gd name="connsiteY0" fmla="*/ 6350 h 228600"/>
              <a:gd name="connsiteX1" fmla="*/ 400811 w 491108"/>
              <a:gd name="connsiteY1" fmla="*/ 6350 h 228600"/>
              <a:gd name="connsiteX2" fmla="*/ 484758 w 491108"/>
              <a:gd name="connsiteY2" fmla="*/ 114300 h 228600"/>
              <a:gd name="connsiteX3" fmla="*/ 400811 w 491108"/>
              <a:gd name="connsiteY3" fmla="*/ 222250 h 228600"/>
              <a:gd name="connsiteX4" fmla="*/ 6350 w 491108"/>
              <a:gd name="connsiteY4" fmla="*/ 222250 h 228600"/>
              <a:gd name="connsiteX5" fmla="*/ 90297 w 491108"/>
              <a:gd name="connsiteY5" fmla="*/ 114300 h 228600"/>
              <a:gd name="connsiteX6" fmla="*/ 6350 w 491108"/>
              <a:gd name="connsiteY6" fmla="*/ 6350 h 2286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491108" h="228600">
                <a:moveTo>
                  <a:pt x="6350" y="6350"/>
                </a:moveTo>
                <a:lnTo>
                  <a:pt x="400811" y="6350"/>
                </a:lnTo>
                <a:lnTo>
                  <a:pt x="484758" y="114300"/>
                </a:lnTo>
                <a:lnTo>
                  <a:pt x="400811" y="222250"/>
                </a:lnTo>
                <a:lnTo>
                  <a:pt x="6350" y="222250"/>
                </a:lnTo>
                <a:lnTo>
                  <a:pt x="90297" y="114300"/>
                </a:lnTo>
                <a:lnTo>
                  <a:pt x="6350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pic>
        <p:nvPicPr>
          <p:cNvPr id="1043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194451" y="1418978"/>
            <a:ext cx="348500" cy="360968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19</a:t>
            </a:r>
          </a:p>
        </p:txBody>
      </p:sp>
      <p:sp>
        <p:nvSpPr>
          <p:cNvPr id="1046" name="TextBox 1"/>
          <p:cNvSpPr txBox="1"/>
          <p:nvPr/>
        </p:nvSpPr>
        <p:spPr>
          <a:xfrm>
            <a:off x="1394002" y="3746600"/>
            <a:ext cx="1030731" cy="545380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274"/>
              </a:lnSpc>
              <a:tabLst>
                <a:tab pos="136906" algn="l"/>
                <a:tab pos="224028" algn="l"/>
              </a:tabLst>
            </a:pP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ы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ремени</a:t>
            </a:r>
          </a:p>
          <a:p>
            <a:pPr>
              <a:lnSpc>
                <a:spcPts val="1274"/>
              </a:lnSpc>
              <a:tabLst>
                <a:tab pos="136906" algn="l"/>
                <a:tab pos="224028" algn="l"/>
              </a:tabLst>
            </a:pPr>
            <a:r>
              <a:rPr lang="en-US" altLang="zh-CN" dirty="0" smtClean="0"/>
              <a:t>	</a:t>
            </a: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(нормативы</a:t>
            </a:r>
          </a:p>
          <a:p>
            <a:pPr>
              <a:lnSpc>
                <a:spcPts val="1274"/>
              </a:lnSpc>
              <a:tabLst>
                <a:tab pos="136906" algn="l"/>
                <a:tab pos="224028" algn="l"/>
              </a:tabLst>
            </a:pPr>
            <a:r>
              <a:rPr lang="en-US" altLang="zh-CN" dirty="0" smtClean="0"/>
              <a:t>		</a:t>
            </a: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ремени)</a:t>
            </a:r>
          </a:p>
        </p:txBody>
      </p:sp>
      <p:sp>
        <p:nvSpPr>
          <p:cNvPr id="1047" name="TextBox 1"/>
          <p:cNvSpPr txBox="1"/>
          <p:nvPr/>
        </p:nvSpPr>
        <p:spPr>
          <a:xfrm>
            <a:off x="609876" y="560123"/>
            <a:ext cx="4582793" cy="101986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62230" algn="l"/>
                <a:tab pos="2949702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рядо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тверждения</a:t>
            </a:r>
          </a:p>
          <a:p>
            <a:pPr>
              <a:lnSpc>
                <a:spcPts val="2058"/>
              </a:lnSpc>
              <a:tabLst>
                <a:tab pos="62230" algn="l"/>
                <a:tab pos="2949702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548"/>
              </a:lnSpc>
              <a:tabLst>
                <a:tab pos="62230" algn="l"/>
                <a:tab pos="2949702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ид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</p:txBody>
      </p:sp>
      <p:sp>
        <p:nvSpPr>
          <p:cNvPr id="1048" name="TextBox 1"/>
          <p:cNvSpPr txBox="1"/>
          <p:nvPr/>
        </p:nvSpPr>
        <p:spPr>
          <a:xfrm>
            <a:off x="3124057" y="2775720"/>
            <a:ext cx="3154069" cy="2174031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274"/>
              </a:lnSpc>
              <a:tabLst>
                <a:tab pos="261366" algn="l"/>
                <a:tab pos="472948" algn="l"/>
                <a:tab pos="522732" algn="l"/>
                <a:tab pos="883666" algn="l"/>
                <a:tab pos="1729994" algn="l"/>
              </a:tabLst>
            </a:pP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ы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грузки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666"/>
              </a:lnSpc>
              <a:tabLst>
                <a:tab pos="261366" algn="l"/>
                <a:tab pos="472948" algn="l"/>
                <a:tab pos="522732" algn="l"/>
                <a:tab pos="883666" algn="l"/>
                <a:tab pos="1729994" algn="l"/>
              </a:tabLst>
            </a:pPr>
            <a:r>
              <a:rPr lang="en-US" altLang="zh-CN" dirty="0" smtClean="0"/>
              <a:t>	</a:t>
            </a: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ы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численности</a:t>
            </a:r>
          </a:p>
          <a:p>
            <a:pPr>
              <a:lnSpc>
                <a:spcPts val="1274"/>
              </a:lnSpc>
              <a:tabLst>
                <a:tab pos="261366" algn="l"/>
                <a:tab pos="472948" algn="l"/>
                <a:tab pos="522732" algn="l"/>
                <a:tab pos="883666" algn="l"/>
                <a:tab pos="1729994" algn="l"/>
              </a:tabLst>
            </a:pPr>
            <a:r>
              <a:rPr lang="en-US" altLang="zh-CN" dirty="0" smtClean="0"/>
              <a:t>			</a:t>
            </a: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(нормативы</a:t>
            </a:r>
          </a:p>
          <a:p>
            <a:pPr>
              <a:lnSpc>
                <a:spcPts val="1274"/>
              </a:lnSpc>
              <a:tabLst>
                <a:tab pos="261366" algn="l"/>
                <a:tab pos="472948" algn="l"/>
                <a:tab pos="522732" algn="l"/>
                <a:tab pos="883666" algn="l"/>
                <a:tab pos="1729994" algn="l"/>
              </a:tabLst>
            </a:pPr>
            <a:r>
              <a:rPr lang="en-US" altLang="zh-CN" dirty="0" smtClean="0"/>
              <a:t>		</a:t>
            </a: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численности)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666"/>
              </a:lnSpc>
              <a:tabLst>
                <a:tab pos="261366" algn="l"/>
                <a:tab pos="472948" algn="l"/>
                <a:tab pos="522732" algn="l"/>
                <a:tab pos="883666" algn="l"/>
                <a:tab pos="1729994" algn="l"/>
              </a:tabLst>
            </a:pPr>
            <a:r>
              <a:rPr lang="en-US" altLang="zh-CN" dirty="0" smtClean="0"/>
              <a:t>				</a:t>
            </a: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ы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ыработки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274"/>
              </a:lnSpc>
              <a:tabLst>
                <a:tab pos="261366" algn="l"/>
                <a:tab pos="472948" algn="l"/>
                <a:tab pos="522732" algn="l"/>
                <a:tab pos="883666" algn="l"/>
                <a:tab pos="1729994" algn="l"/>
              </a:tabLst>
            </a:pPr>
            <a:r>
              <a:rPr lang="en-US" altLang="zh-CN" dirty="0" smtClean="0"/>
              <a:t>					</a:t>
            </a: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ы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бслуживания</a:t>
            </a:r>
          </a:p>
        </p:txBody>
      </p:sp>
    </p:spTree>
    <p:extLst>
      <p:ext uri="{BB962C8B-B14F-4D97-AF65-F5344CB8AC3E}">
        <p14:creationId xmlns:p14="http://schemas.microsoft.com/office/powerpoint/2010/main" val="3299125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11161" y="311179"/>
            <a:ext cx="8276884" cy="5812831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20</a:t>
            </a:r>
          </a:p>
        </p:txBody>
      </p:sp>
      <p:sp>
        <p:nvSpPr>
          <p:cNvPr id="5" name="TextBox 1"/>
          <p:cNvSpPr txBox="1"/>
          <p:nvPr/>
        </p:nvSpPr>
        <p:spPr>
          <a:xfrm>
            <a:off x="821465" y="2315175"/>
            <a:ext cx="302968" cy="2443336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2548"/>
              </a:lnSpc>
              <a:tabLst>
                <a:tab pos="37338" algn="l"/>
              </a:tabLst>
            </a:pPr>
            <a:r>
              <a:rPr lang="en-US" altLang="zh-CN" dirty="0" smtClean="0"/>
              <a:t>	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</a:t>
            </a:r>
          </a:p>
          <a:p>
            <a:pPr>
              <a:lnSpc>
                <a:spcPts val="2744"/>
              </a:lnSpc>
              <a:tabLst>
                <a:tab pos="37338" algn="l"/>
              </a:tabLst>
            </a:pP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2744"/>
              </a:lnSpc>
              <a:tabLst>
                <a:tab pos="37338" algn="l"/>
              </a:tabLst>
            </a:pP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</a:t>
            </a:r>
          </a:p>
          <a:p>
            <a:pPr>
              <a:lnSpc>
                <a:spcPts val="2744"/>
              </a:lnSpc>
              <a:tabLst>
                <a:tab pos="37338" algn="l"/>
              </a:tabLst>
            </a:pP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Ц</a:t>
            </a:r>
          </a:p>
          <a:p>
            <a:pPr>
              <a:lnSpc>
                <a:spcPts val="2744"/>
              </a:lnSpc>
              <a:tabLst>
                <a:tab pos="37338" algn="l"/>
              </a:tabLst>
            </a:pP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2744"/>
              </a:lnSpc>
              <a:tabLst>
                <a:tab pos="37338" algn="l"/>
              </a:tabLst>
            </a:pP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</a:t>
            </a:r>
          </a:p>
          <a:p>
            <a:pPr>
              <a:lnSpc>
                <a:spcPts val="2744"/>
              </a:lnSpc>
              <a:tabLst>
                <a:tab pos="37338" algn="l"/>
              </a:tabLst>
            </a:pP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Ы</a:t>
            </a:r>
          </a:p>
        </p:txBody>
      </p:sp>
      <p:sp>
        <p:nvSpPr>
          <p:cNvPr id="6" name="TextBox 1"/>
          <p:cNvSpPr txBox="1"/>
          <p:nvPr/>
        </p:nvSpPr>
        <p:spPr>
          <a:xfrm>
            <a:off x="547643" y="585017"/>
            <a:ext cx="5412379" cy="175083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62230" algn="l"/>
                <a:tab pos="286258" algn="l"/>
                <a:tab pos="260121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рядо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тверждения</a:t>
            </a:r>
          </a:p>
          <a:p>
            <a:pPr>
              <a:lnSpc>
                <a:spcPts val="2058"/>
              </a:lnSpc>
              <a:tabLst>
                <a:tab pos="62230" algn="l"/>
                <a:tab pos="286258" algn="l"/>
                <a:tab pos="2601214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156"/>
              </a:lnSpc>
              <a:tabLst>
                <a:tab pos="62230" algn="l"/>
                <a:tab pos="286258" algn="l"/>
                <a:tab pos="2601214" algn="l"/>
              </a:tabLst>
            </a:pPr>
            <a:r>
              <a:rPr lang="en-US" altLang="zh-CN" dirty="0" smtClean="0"/>
              <a:t>			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учная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боснованность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3038"/>
              </a:lnSpc>
              <a:tabLst>
                <a:tab pos="62230" algn="l"/>
                <a:tab pos="286258" algn="l"/>
                <a:tab pos="2601214" algn="l"/>
              </a:tabLst>
            </a:pPr>
            <a:r>
              <a:rPr lang="en-US" altLang="zh-CN" dirty="0" smtClean="0"/>
              <a:t>		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</a:t>
            </a:r>
          </a:p>
        </p:txBody>
      </p:sp>
      <p:sp>
        <p:nvSpPr>
          <p:cNvPr id="7" name="TextBox 1"/>
          <p:cNvSpPr txBox="1"/>
          <p:nvPr/>
        </p:nvSpPr>
        <p:spPr>
          <a:xfrm>
            <a:off x="3148950" y="2613907"/>
            <a:ext cx="4571764" cy="266134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862"/>
              </a:lnSpc>
              <a:tabLst>
                <a:tab pos="87122" algn="l"/>
              </a:tabLst>
            </a:pP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вная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пряженность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а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динаковых</a:t>
            </a:r>
          </a:p>
          <a:p>
            <a:pPr>
              <a:lnSpc>
                <a:spcPts val="1960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ах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дентичных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словиях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548"/>
              </a:lnSpc>
              <a:tabLst>
                <a:tab pos="87122" algn="l"/>
              </a:tabLst>
            </a:pPr>
            <a:r>
              <a:rPr lang="en-US" altLang="zh-CN" sz="1700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еализация</a:t>
            </a:r>
            <a:r>
              <a:rPr lang="ru-RU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 </a:t>
            </a:r>
            <a:r>
              <a:rPr lang="en-US" altLang="zh-CN" sz="1700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рав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ников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960"/>
              </a:lnSpc>
              <a:tabLst>
                <a:tab pos="87122" algn="l"/>
              </a:tabLst>
            </a:pP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частие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ников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становлении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а</a:t>
            </a:r>
          </a:p>
        </p:txBody>
      </p:sp>
    </p:spTree>
    <p:extLst>
      <p:ext uri="{BB962C8B-B14F-4D97-AF65-F5344CB8AC3E}">
        <p14:creationId xmlns:p14="http://schemas.microsoft.com/office/powerpoint/2010/main" val="1790733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547644" y="410757"/>
            <a:ext cx="7592329" cy="686445"/>
          </a:xfrm>
          <a:prstGeom prst="rect">
            <a:avLst/>
          </a:prstGeom>
          <a:noFill/>
        </p:spPr>
        <p:txBody>
          <a:bodyPr wrap="square" lIns="0" tIns="0" rIns="0" bIns="44806" rtlCol="0">
            <a:spAutoFit/>
          </a:bodyPr>
          <a:lstStyle/>
          <a:p>
            <a:pPr>
              <a:lnSpc>
                <a:spcPts val="2548"/>
              </a:lnSpc>
            </a:pPr>
            <a:r>
              <a:rPr lang="en-US" altLang="zh-CN" sz="2400" dirty="0">
                <a:solidFill>
                  <a:schemeClr val="bg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одуль 1 «</a:t>
            </a:r>
            <a:r>
              <a:rPr lang="en-US" altLang="zh-CN" sz="2400" dirty="0" err="1">
                <a:solidFill>
                  <a:schemeClr val="bg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Теоретические</a:t>
            </a:r>
            <a:r>
              <a:rPr lang="ru-RU" altLang="zh-CN" sz="2400" dirty="0">
                <a:solidFill>
                  <a:schemeClr val="bg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 err="1">
                <a:solidFill>
                  <a:schemeClr val="bg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сновы</a:t>
            </a:r>
            <a:r>
              <a:rPr lang="en-US" altLang="zh-CN" sz="2400" dirty="0">
                <a:solidFill>
                  <a:schemeClr val="bg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ормирования труда»</a:t>
            </a:r>
          </a:p>
        </p:txBody>
      </p:sp>
      <p:sp>
        <p:nvSpPr>
          <p:cNvPr id="8" name="TextBox 1"/>
          <p:cNvSpPr txBox="1"/>
          <p:nvPr/>
        </p:nvSpPr>
        <p:spPr>
          <a:xfrm>
            <a:off x="535197" y="2003995"/>
            <a:ext cx="192360" cy="135329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764"/>
              </a:lnSpc>
            </a:pP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.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764"/>
              </a:lnSpc>
            </a:pP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.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764"/>
              </a:lnSpc>
            </a:pP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.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764"/>
              </a:lnSpc>
            </a:pP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4.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983269" y="1954207"/>
            <a:ext cx="6855210" cy="1366118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2156"/>
              </a:lnSpc>
            </a:pP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е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: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нятие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конодательные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ы</a:t>
            </a:r>
          </a:p>
          <a:p>
            <a:pPr>
              <a:lnSpc>
                <a:spcPts val="2744"/>
              </a:lnSpc>
            </a:pP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правления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вития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истемы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2744"/>
              </a:lnSpc>
            </a:pP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рядок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2744"/>
              </a:lnSpc>
            </a:pP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е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лата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,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ЕТКС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фессиональные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535197" y="3323396"/>
            <a:ext cx="6955430" cy="981397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2156"/>
              </a:lnSpc>
              <a:tabLst>
                <a:tab pos="448056" algn="l"/>
              </a:tabLst>
            </a:pPr>
            <a:r>
              <a:rPr lang="en-US" altLang="zh-CN" dirty="0" smtClean="0"/>
              <a:t>	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ндарты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единой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истеме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правления</a:t>
            </a:r>
          </a:p>
          <a:p>
            <a:pPr>
              <a:lnSpc>
                <a:spcPts val="2744"/>
              </a:lnSpc>
              <a:tabLst>
                <a:tab pos="448056" algn="l"/>
              </a:tabLst>
            </a:pP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5.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рядок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гламентирующих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кументов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</a:p>
          <a:p>
            <a:pPr>
              <a:lnSpc>
                <a:spcPts val="2352"/>
              </a:lnSpc>
              <a:tabLst>
                <a:tab pos="448056" algn="l"/>
              </a:tabLst>
            </a:pPr>
            <a:r>
              <a:rPr lang="en-US" altLang="zh-CN" dirty="0" smtClean="0"/>
              <a:t>	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ю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</p:txBody>
      </p:sp>
      <p:sp>
        <p:nvSpPr>
          <p:cNvPr id="11" name="TextBox 1"/>
          <p:cNvSpPr txBox="1"/>
          <p:nvPr/>
        </p:nvSpPr>
        <p:spPr>
          <a:xfrm>
            <a:off x="8737402" y="6410296"/>
            <a:ext cx="51296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70983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1305382" y="2091126"/>
            <a:ext cx="2752156" cy="776329"/>
          </a:xfrm>
          <a:custGeom>
            <a:avLst/>
            <a:gdLst>
              <a:gd name="connsiteX0" fmla="*/ 0 w 2808223"/>
              <a:gd name="connsiteY0" fmla="*/ 132079 h 792098"/>
              <a:gd name="connsiteX1" fmla="*/ 131952 w 2808223"/>
              <a:gd name="connsiteY1" fmla="*/ 0 h 792098"/>
              <a:gd name="connsiteX2" fmla="*/ 131952 w 2808223"/>
              <a:gd name="connsiteY2" fmla="*/ 0 h 792098"/>
              <a:gd name="connsiteX3" fmla="*/ 131952 w 2808223"/>
              <a:gd name="connsiteY3" fmla="*/ 0 h 792098"/>
              <a:gd name="connsiteX4" fmla="*/ 2676144 w 2808223"/>
              <a:gd name="connsiteY4" fmla="*/ 0 h 792098"/>
              <a:gd name="connsiteX5" fmla="*/ 2676144 w 2808223"/>
              <a:gd name="connsiteY5" fmla="*/ 0 h 792098"/>
              <a:gd name="connsiteX6" fmla="*/ 2808224 w 2808223"/>
              <a:gd name="connsiteY6" fmla="*/ 132079 h 792098"/>
              <a:gd name="connsiteX7" fmla="*/ 2808224 w 2808223"/>
              <a:gd name="connsiteY7" fmla="*/ 132079 h 792098"/>
              <a:gd name="connsiteX8" fmla="*/ 2808224 w 2808223"/>
              <a:gd name="connsiteY8" fmla="*/ 132079 h 792098"/>
              <a:gd name="connsiteX9" fmla="*/ 2808224 w 2808223"/>
              <a:gd name="connsiteY9" fmla="*/ 660145 h 792098"/>
              <a:gd name="connsiteX10" fmla="*/ 2808224 w 2808223"/>
              <a:gd name="connsiteY10" fmla="*/ 660145 h 792098"/>
              <a:gd name="connsiteX11" fmla="*/ 2676144 w 2808223"/>
              <a:gd name="connsiteY11" fmla="*/ 792098 h 792098"/>
              <a:gd name="connsiteX12" fmla="*/ 2676144 w 2808223"/>
              <a:gd name="connsiteY12" fmla="*/ 792098 h 792098"/>
              <a:gd name="connsiteX13" fmla="*/ 2676144 w 2808223"/>
              <a:gd name="connsiteY13" fmla="*/ 792098 h 792098"/>
              <a:gd name="connsiteX14" fmla="*/ 131952 w 2808223"/>
              <a:gd name="connsiteY14" fmla="*/ 792098 h 792098"/>
              <a:gd name="connsiteX15" fmla="*/ 131952 w 2808223"/>
              <a:gd name="connsiteY15" fmla="*/ 792098 h 792098"/>
              <a:gd name="connsiteX16" fmla="*/ 0 w 2808223"/>
              <a:gd name="connsiteY16" fmla="*/ 660145 h 792098"/>
              <a:gd name="connsiteX17" fmla="*/ 0 w 2808223"/>
              <a:gd name="connsiteY17" fmla="*/ 660145 h 792098"/>
              <a:gd name="connsiteX18" fmla="*/ 0 w 2808223"/>
              <a:gd name="connsiteY18" fmla="*/ 132079 h 79209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2808223" h="792098">
                <a:moveTo>
                  <a:pt x="0" y="132079"/>
                </a:moveTo>
                <a:cubicBezTo>
                  <a:pt x="0" y="59054"/>
                  <a:pt x="59055" y="0"/>
                  <a:pt x="131952" y="0"/>
                </a:cubicBezTo>
                <a:cubicBezTo>
                  <a:pt x="131952" y="0"/>
                  <a:pt x="131952" y="0"/>
                  <a:pt x="131952" y="0"/>
                </a:cubicBezTo>
                <a:lnTo>
                  <a:pt x="131952" y="0"/>
                </a:lnTo>
                <a:lnTo>
                  <a:pt x="2676144" y="0"/>
                </a:lnTo>
                <a:lnTo>
                  <a:pt x="2676144" y="0"/>
                </a:lnTo>
                <a:cubicBezTo>
                  <a:pt x="2749169" y="0"/>
                  <a:pt x="2808224" y="59054"/>
                  <a:pt x="2808224" y="132079"/>
                </a:cubicBezTo>
                <a:cubicBezTo>
                  <a:pt x="2808224" y="132079"/>
                  <a:pt x="2808224" y="132079"/>
                  <a:pt x="2808224" y="132079"/>
                </a:cubicBezTo>
                <a:lnTo>
                  <a:pt x="2808224" y="132079"/>
                </a:lnTo>
                <a:lnTo>
                  <a:pt x="2808224" y="660145"/>
                </a:lnTo>
                <a:lnTo>
                  <a:pt x="2808224" y="660145"/>
                </a:lnTo>
                <a:cubicBezTo>
                  <a:pt x="2808224" y="733044"/>
                  <a:pt x="2749169" y="792098"/>
                  <a:pt x="2676144" y="792098"/>
                </a:cubicBezTo>
                <a:cubicBezTo>
                  <a:pt x="2676144" y="792098"/>
                  <a:pt x="2676144" y="792098"/>
                  <a:pt x="2676144" y="792098"/>
                </a:cubicBezTo>
                <a:lnTo>
                  <a:pt x="2676144" y="792098"/>
                </a:lnTo>
                <a:lnTo>
                  <a:pt x="131952" y="792098"/>
                </a:lnTo>
                <a:lnTo>
                  <a:pt x="131952" y="792098"/>
                </a:lnTo>
                <a:cubicBezTo>
                  <a:pt x="59055" y="792098"/>
                  <a:pt x="0" y="733044"/>
                  <a:pt x="0" y="660145"/>
                </a:cubicBezTo>
                <a:cubicBezTo>
                  <a:pt x="0" y="660145"/>
                  <a:pt x="0" y="660145"/>
                  <a:pt x="0" y="660145"/>
                </a:cubicBezTo>
                <a:lnTo>
                  <a:pt x="0" y="132079"/>
                </a:lnTo>
              </a:path>
            </a:pathLst>
          </a:custGeom>
          <a:solidFill>
            <a:srgbClr val="DEDED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1299159" y="2084902"/>
            <a:ext cx="2764603" cy="788777"/>
          </a:xfrm>
          <a:custGeom>
            <a:avLst/>
            <a:gdLst>
              <a:gd name="connsiteX0" fmla="*/ 6350 w 2820923"/>
              <a:gd name="connsiteY0" fmla="*/ 138429 h 804798"/>
              <a:gd name="connsiteX1" fmla="*/ 138302 w 2820923"/>
              <a:gd name="connsiteY1" fmla="*/ 6350 h 804798"/>
              <a:gd name="connsiteX2" fmla="*/ 138302 w 2820923"/>
              <a:gd name="connsiteY2" fmla="*/ 6350 h 804798"/>
              <a:gd name="connsiteX3" fmla="*/ 138302 w 2820923"/>
              <a:gd name="connsiteY3" fmla="*/ 6350 h 804798"/>
              <a:gd name="connsiteX4" fmla="*/ 2682494 w 2820923"/>
              <a:gd name="connsiteY4" fmla="*/ 6350 h 804798"/>
              <a:gd name="connsiteX5" fmla="*/ 2682494 w 2820923"/>
              <a:gd name="connsiteY5" fmla="*/ 6350 h 804798"/>
              <a:gd name="connsiteX6" fmla="*/ 2814574 w 2820923"/>
              <a:gd name="connsiteY6" fmla="*/ 138429 h 804798"/>
              <a:gd name="connsiteX7" fmla="*/ 2814574 w 2820923"/>
              <a:gd name="connsiteY7" fmla="*/ 138429 h 804798"/>
              <a:gd name="connsiteX8" fmla="*/ 2814574 w 2820923"/>
              <a:gd name="connsiteY8" fmla="*/ 138429 h 804798"/>
              <a:gd name="connsiteX9" fmla="*/ 2814574 w 2820923"/>
              <a:gd name="connsiteY9" fmla="*/ 666495 h 804798"/>
              <a:gd name="connsiteX10" fmla="*/ 2814574 w 2820923"/>
              <a:gd name="connsiteY10" fmla="*/ 666495 h 804798"/>
              <a:gd name="connsiteX11" fmla="*/ 2682494 w 2820923"/>
              <a:gd name="connsiteY11" fmla="*/ 798448 h 804798"/>
              <a:gd name="connsiteX12" fmla="*/ 2682494 w 2820923"/>
              <a:gd name="connsiteY12" fmla="*/ 798448 h 804798"/>
              <a:gd name="connsiteX13" fmla="*/ 2682494 w 2820923"/>
              <a:gd name="connsiteY13" fmla="*/ 798448 h 804798"/>
              <a:gd name="connsiteX14" fmla="*/ 138302 w 2820923"/>
              <a:gd name="connsiteY14" fmla="*/ 798448 h 804798"/>
              <a:gd name="connsiteX15" fmla="*/ 138302 w 2820923"/>
              <a:gd name="connsiteY15" fmla="*/ 798448 h 804798"/>
              <a:gd name="connsiteX16" fmla="*/ 6350 w 2820923"/>
              <a:gd name="connsiteY16" fmla="*/ 666495 h 804798"/>
              <a:gd name="connsiteX17" fmla="*/ 6350 w 2820923"/>
              <a:gd name="connsiteY17" fmla="*/ 666495 h 804798"/>
              <a:gd name="connsiteX18" fmla="*/ 6350 w 2820923"/>
              <a:gd name="connsiteY18" fmla="*/ 138429 h 80479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2820923" h="804798">
                <a:moveTo>
                  <a:pt x="6350" y="138429"/>
                </a:moveTo>
                <a:cubicBezTo>
                  <a:pt x="6350" y="65404"/>
                  <a:pt x="65405" y="6350"/>
                  <a:pt x="138302" y="6350"/>
                </a:cubicBezTo>
                <a:cubicBezTo>
                  <a:pt x="138302" y="6350"/>
                  <a:pt x="138302" y="6350"/>
                  <a:pt x="138302" y="6350"/>
                </a:cubicBezTo>
                <a:lnTo>
                  <a:pt x="138302" y="6350"/>
                </a:lnTo>
                <a:lnTo>
                  <a:pt x="2682494" y="6350"/>
                </a:lnTo>
                <a:lnTo>
                  <a:pt x="2682494" y="6350"/>
                </a:lnTo>
                <a:cubicBezTo>
                  <a:pt x="2755519" y="6350"/>
                  <a:pt x="2814574" y="65404"/>
                  <a:pt x="2814574" y="138429"/>
                </a:cubicBezTo>
                <a:cubicBezTo>
                  <a:pt x="2814574" y="138429"/>
                  <a:pt x="2814574" y="138429"/>
                  <a:pt x="2814574" y="138429"/>
                </a:cubicBezTo>
                <a:lnTo>
                  <a:pt x="2814574" y="138429"/>
                </a:lnTo>
                <a:lnTo>
                  <a:pt x="2814574" y="666495"/>
                </a:lnTo>
                <a:lnTo>
                  <a:pt x="2814574" y="666495"/>
                </a:lnTo>
                <a:cubicBezTo>
                  <a:pt x="2814574" y="739394"/>
                  <a:pt x="2755519" y="798448"/>
                  <a:pt x="2682494" y="798448"/>
                </a:cubicBezTo>
                <a:cubicBezTo>
                  <a:pt x="2682494" y="798448"/>
                  <a:pt x="2682494" y="798448"/>
                  <a:pt x="2682494" y="798448"/>
                </a:cubicBezTo>
                <a:lnTo>
                  <a:pt x="2682494" y="798448"/>
                </a:lnTo>
                <a:lnTo>
                  <a:pt x="138302" y="798448"/>
                </a:lnTo>
                <a:lnTo>
                  <a:pt x="138302" y="798448"/>
                </a:lnTo>
                <a:cubicBezTo>
                  <a:pt x="65405" y="798448"/>
                  <a:pt x="6350" y="739394"/>
                  <a:pt x="6350" y="666495"/>
                </a:cubicBezTo>
                <a:cubicBezTo>
                  <a:pt x="6350" y="666495"/>
                  <a:pt x="6350" y="666495"/>
                  <a:pt x="6350" y="666495"/>
                </a:cubicBezTo>
                <a:lnTo>
                  <a:pt x="6350" y="138429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7" name="Freeform 3"/>
          <p:cNvSpPr/>
          <p:nvPr/>
        </p:nvSpPr>
        <p:spPr>
          <a:xfrm>
            <a:off x="2080174" y="1173146"/>
            <a:ext cx="4516439" cy="353251"/>
          </a:xfrm>
          <a:custGeom>
            <a:avLst/>
            <a:gdLst>
              <a:gd name="connsiteX0" fmla="*/ 0 w 4608448"/>
              <a:gd name="connsiteY0" fmla="*/ 60071 h 360426"/>
              <a:gd name="connsiteX1" fmla="*/ 59944 w 4608448"/>
              <a:gd name="connsiteY1" fmla="*/ 0 h 360426"/>
              <a:gd name="connsiteX2" fmla="*/ 59944 w 4608448"/>
              <a:gd name="connsiteY2" fmla="*/ 0 h 360426"/>
              <a:gd name="connsiteX3" fmla="*/ 59944 w 4608448"/>
              <a:gd name="connsiteY3" fmla="*/ 0 h 360426"/>
              <a:gd name="connsiteX4" fmla="*/ 4548378 w 4608448"/>
              <a:gd name="connsiteY4" fmla="*/ 0 h 360426"/>
              <a:gd name="connsiteX5" fmla="*/ 4548378 w 4608448"/>
              <a:gd name="connsiteY5" fmla="*/ 0 h 360426"/>
              <a:gd name="connsiteX6" fmla="*/ 4608448 w 4608448"/>
              <a:gd name="connsiteY6" fmla="*/ 60071 h 360426"/>
              <a:gd name="connsiteX7" fmla="*/ 4608448 w 4608448"/>
              <a:gd name="connsiteY7" fmla="*/ 60071 h 360426"/>
              <a:gd name="connsiteX8" fmla="*/ 4608448 w 4608448"/>
              <a:gd name="connsiteY8" fmla="*/ 60071 h 360426"/>
              <a:gd name="connsiteX9" fmla="*/ 4608448 w 4608448"/>
              <a:gd name="connsiteY9" fmla="*/ 300355 h 360426"/>
              <a:gd name="connsiteX10" fmla="*/ 4608448 w 4608448"/>
              <a:gd name="connsiteY10" fmla="*/ 300355 h 360426"/>
              <a:gd name="connsiteX11" fmla="*/ 4548378 w 4608448"/>
              <a:gd name="connsiteY11" fmla="*/ 360425 h 360426"/>
              <a:gd name="connsiteX12" fmla="*/ 4548378 w 4608448"/>
              <a:gd name="connsiteY12" fmla="*/ 360425 h 360426"/>
              <a:gd name="connsiteX13" fmla="*/ 4548378 w 4608448"/>
              <a:gd name="connsiteY13" fmla="*/ 360425 h 360426"/>
              <a:gd name="connsiteX14" fmla="*/ 59944 w 4608448"/>
              <a:gd name="connsiteY14" fmla="*/ 360425 h 360426"/>
              <a:gd name="connsiteX15" fmla="*/ 59944 w 4608448"/>
              <a:gd name="connsiteY15" fmla="*/ 360425 h 360426"/>
              <a:gd name="connsiteX16" fmla="*/ 0 w 4608448"/>
              <a:gd name="connsiteY16" fmla="*/ 300355 h 360426"/>
              <a:gd name="connsiteX17" fmla="*/ 0 w 4608448"/>
              <a:gd name="connsiteY17" fmla="*/ 300355 h 360426"/>
              <a:gd name="connsiteX18" fmla="*/ 0 w 4608448"/>
              <a:gd name="connsiteY18" fmla="*/ 60071 h 36042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4608448" h="360426">
                <a:moveTo>
                  <a:pt x="0" y="60071"/>
                </a:moveTo>
                <a:cubicBezTo>
                  <a:pt x="0" y="26924"/>
                  <a:pt x="26797" y="0"/>
                  <a:pt x="59944" y="0"/>
                </a:cubicBezTo>
                <a:cubicBezTo>
                  <a:pt x="59944" y="0"/>
                  <a:pt x="59944" y="0"/>
                  <a:pt x="59944" y="0"/>
                </a:cubicBezTo>
                <a:lnTo>
                  <a:pt x="59944" y="0"/>
                </a:lnTo>
                <a:lnTo>
                  <a:pt x="4548378" y="0"/>
                </a:lnTo>
                <a:lnTo>
                  <a:pt x="4548378" y="0"/>
                </a:lnTo>
                <a:cubicBezTo>
                  <a:pt x="4581525" y="0"/>
                  <a:pt x="4608448" y="26924"/>
                  <a:pt x="4608448" y="60071"/>
                </a:cubicBezTo>
                <a:cubicBezTo>
                  <a:pt x="4608448" y="60071"/>
                  <a:pt x="4608448" y="60071"/>
                  <a:pt x="4608448" y="60071"/>
                </a:cubicBezTo>
                <a:lnTo>
                  <a:pt x="4608448" y="60071"/>
                </a:lnTo>
                <a:lnTo>
                  <a:pt x="4608448" y="300355"/>
                </a:lnTo>
                <a:lnTo>
                  <a:pt x="4608448" y="300355"/>
                </a:lnTo>
                <a:cubicBezTo>
                  <a:pt x="4608448" y="333502"/>
                  <a:pt x="4581525" y="360425"/>
                  <a:pt x="4548378" y="360425"/>
                </a:cubicBezTo>
                <a:cubicBezTo>
                  <a:pt x="4548378" y="360425"/>
                  <a:pt x="4548378" y="360425"/>
                  <a:pt x="4548378" y="360425"/>
                </a:cubicBezTo>
                <a:lnTo>
                  <a:pt x="4548378" y="360425"/>
                </a:lnTo>
                <a:lnTo>
                  <a:pt x="59944" y="360425"/>
                </a:lnTo>
                <a:lnTo>
                  <a:pt x="59944" y="360425"/>
                </a:lnTo>
                <a:cubicBezTo>
                  <a:pt x="26797" y="360425"/>
                  <a:pt x="0" y="333502"/>
                  <a:pt x="0" y="300355"/>
                </a:cubicBezTo>
                <a:cubicBezTo>
                  <a:pt x="0" y="300355"/>
                  <a:pt x="0" y="300355"/>
                  <a:pt x="0" y="300355"/>
                </a:cubicBezTo>
                <a:lnTo>
                  <a:pt x="0" y="60071"/>
                </a:lnTo>
              </a:path>
            </a:pathLst>
          </a:custGeom>
          <a:solidFill>
            <a:srgbClr val="DEDED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8" name="Freeform 3"/>
          <p:cNvSpPr/>
          <p:nvPr/>
        </p:nvSpPr>
        <p:spPr>
          <a:xfrm>
            <a:off x="1658488" y="2865962"/>
            <a:ext cx="211590" cy="1271106"/>
          </a:xfrm>
          <a:custGeom>
            <a:avLst/>
            <a:gdLst>
              <a:gd name="connsiteX0" fmla="*/ 0 w 215900"/>
              <a:gd name="connsiteY0" fmla="*/ 751459 h 1296924"/>
              <a:gd name="connsiteX1" fmla="*/ 54991 w 215900"/>
              <a:gd name="connsiteY1" fmla="*/ 751459 h 1296924"/>
              <a:gd name="connsiteX2" fmla="*/ 54991 w 215900"/>
              <a:gd name="connsiteY2" fmla="*/ 0 h 1296924"/>
              <a:gd name="connsiteX3" fmla="*/ 160908 w 215900"/>
              <a:gd name="connsiteY3" fmla="*/ 0 h 1296924"/>
              <a:gd name="connsiteX4" fmla="*/ 160908 w 215900"/>
              <a:gd name="connsiteY4" fmla="*/ 751459 h 1296924"/>
              <a:gd name="connsiteX5" fmla="*/ 215900 w 215900"/>
              <a:gd name="connsiteY5" fmla="*/ 751459 h 1296924"/>
              <a:gd name="connsiteX6" fmla="*/ 107950 w 215900"/>
              <a:gd name="connsiteY6" fmla="*/ 1296923 h 1296924"/>
              <a:gd name="connsiteX7" fmla="*/ 0 w 215900"/>
              <a:gd name="connsiteY7" fmla="*/ 751459 h 129692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215900" h="1296924">
                <a:moveTo>
                  <a:pt x="0" y="751459"/>
                </a:moveTo>
                <a:lnTo>
                  <a:pt x="54991" y="751459"/>
                </a:lnTo>
                <a:lnTo>
                  <a:pt x="54991" y="0"/>
                </a:lnTo>
                <a:lnTo>
                  <a:pt x="160908" y="0"/>
                </a:lnTo>
                <a:lnTo>
                  <a:pt x="160908" y="751459"/>
                </a:lnTo>
                <a:lnTo>
                  <a:pt x="215900" y="751459"/>
                </a:lnTo>
                <a:lnTo>
                  <a:pt x="107950" y="1296923"/>
                </a:lnTo>
                <a:lnTo>
                  <a:pt x="0" y="751459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9" name="Freeform 3"/>
          <p:cNvSpPr/>
          <p:nvPr/>
        </p:nvSpPr>
        <p:spPr>
          <a:xfrm>
            <a:off x="1652265" y="2859739"/>
            <a:ext cx="224036" cy="1283553"/>
          </a:xfrm>
          <a:custGeom>
            <a:avLst/>
            <a:gdLst>
              <a:gd name="connsiteX0" fmla="*/ 6350 w 228600"/>
              <a:gd name="connsiteY0" fmla="*/ 757809 h 1309624"/>
              <a:gd name="connsiteX1" fmla="*/ 61341 w 228600"/>
              <a:gd name="connsiteY1" fmla="*/ 757809 h 1309624"/>
              <a:gd name="connsiteX2" fmla="*/ 61341 w 228600"/>
              <a:gd name="connsiteY2" fmla="*/ 6350 h 1309624"/>
              <a:gd name="connsiteX3" fmla="*/ 167258 w 228600"/>
              <a:gd name="connsiteY3" fmla="*/ 6350 h 1309624"/>
              <a:gd name="connsiteX4" fmla="*/ 167258 w 228600"/>
              <a:gd name="connsiteY4" fmla="*/ 757809 h 1309624"/>
              <a:gd name="connsiteX5" fmla="*/ 222250 w 228600"/>
              <a:gd name="connsiteY5" fmla="*/ 757809 h 1309624"/>
              <a:gd name="connsiteX6" fmla="*/ 114300 w 228600"/>
              <a:gd name="connsiteY6" fmla="*/ 1303273 h 1309624"/>
              <a:gd name="connsiteX7" fmla="*/ 6350 w 228600"/>
              <a:gd name="connsiteY7" fmla="*/ 757809 h 130962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228600" h="1309624">
                <a:moveTo>
                  <a:pt x="6350" y="757809"/>
                </a:moveTo>
                <a:lnTo>
                  <a:pt x="61341" y="757809"/>
                </a:lnTo>
                <a:lnTo>
                  <a:pt x="61341" y="6350"/>
                </a:lnTo>
                <a:lnTo>
                  <a:pt x="167258" y="6350"/>
                </a:lnTo>
                <a:lnTo>
                  <a:pt x="167258" y="757809"/>
                </a:lnTo>
                <a:lnTo>
                  <a:pt x="222250" y="757809"/>
                </a:lnTo>
                <a:lnTo>
                  <a:pt x="114300" y="1303273"/>
                </a:lnTo>
                <a:lnTo>
                  <a:pt x="6350" y="757809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" name="Freeform 3"/>
          <p:cNvSpPr/>
          <p:nvPr/>
        </p:nvSpPr>
        <p:spPr>
          <a:xfrm>
            <a:off x="3071159" y="1523284"/>
            <a:ext cx="211590" cy="198159"/>
          </a:xfrm>
          <a:custGeom>
            <a:avLst/>
            <a:gdLst>
              <a:gd name="connsiteX0" fmla="*/ 215900 w 215900"/>
              <a:gd name="connsiteY0" fmla="*/ 0 h 202184"/>
              <a:gd name="connsiteX1" fmla="*/ 215900 w 215900"/>
              <a:gd name="connsiteY1" fmla="*/ 123571 h 202184"/>
              <a:gd name="connsiteX2" fmla="*/ 107950 w 215900"/>
              <a:gd name="connsiteY2" fmla="*/ 202184 h 202184"/>
              <a:gd name="connsiteX3" fmla="*/ 0 w 215900"/>
              <a:gd name="connsiteY3" fmla="*/ 123571 h 202184"/>
              <a:gd name="connsiteX4" fmla="*/ 0 w 215900"/>
              <a:gd name="connsiteY4" fmla="*/ 0 h 202184"/>
              <a:gd name="connsiteX5" fmla="*/ 107950 w 215900"/>
              <a:gd name="connsiteY5" fmla="*/ 78613 h 202184"/>
              <a:gd name="connsiteX6" fmla="*/ 215900 w 215900"/>
              <a:gd name="connsiteY6" fmla="*/ 0 h 20218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15900" h="202184">
                <a:moveTo>
                  <a:pt x="215900" y="0"/>
                </a:moveTo>
                <a:lnTo>
                  <a:pt x="215900" y="123571"/>
                </a:lnTo>
                <a:lnTo>
                  <a:pt x="107950" y="202184"/>
                </a:lnTo>
                <a:lnTo>
                  <a:pt x="0" y="123571"/>
                </a:lnTo>
                <a:lnTo>
                  <a:pt x="0" y="0"/>
                </a:lnTo>
                <a:lnTo>
                  <a:pt x="107950" y="78613"/>
                </a:lnTo>
                <a:lnTo>
                  <a:pt x="215900" y="0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" name="Freeform 3"/>
          <p:cNvSpPr/>
          <p:nvPr/>
        </p:nvSpPr>
        <p:spPr>
          <a:xfrm>
            <a:off x="3064936" y="1517061"/>
            <a:ext cx="224036" cy="210606"/>
          </a:xfrm>
          <a:custGeom>
            <a:avLst/>
            <a:gdLst>
              <a:gd name="connsiteX0" fmla="*/ 222250 w 228600"/>
              <a:gd name="connsiteY0" fmla="*/ 6350 h 214884"/>
              <a:gd name="connsiteX1" fmla="*/ 222250 w 228600"/>
              <a:gd name="connsiteY1" fmla="*/ 129921 h 214884"/>
              <a:gd name="connsiteX2" fmla="*/ 114300 w 228600"/>
              <a:gd name="connsiteY2" fmla="*/ 208534 h 214884"/>
              <a:gd name="connsiteX3" fmla="*/ 6350 w 228600"/>
              <a:gd name="connsiteY3" fmla="*/ 129921 h 214884"/>
              <a:gd name="connsiteX4" fmla="*/ 6350 w 228600"/>
              <a:gd name="connsiteY4" fmla="*/ 6350 h 214884"/>
              <a:gd name="connsiteX5" fmla="*/ 114300 w 228600"/>
              <a:gd name="connsiteY5" fmla="*/ 84963 h 214884"/>
              <a:gd name="connsiteX6" fmla="*/ 222250 w 228600"/>
              <a:gd name="connsiteY6" fmla="*/ 6350 h 21488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28600" h="214884">
                <a:moveTo>
                  <a:pt x="222250" y="6350"/>
                </a:moveTo>
                <a:lnTo>
                  <a:pt x="222250" y="129921"/>
                </a:lnTo>
                <a:lnTo>
                  <a:pt x="114300" y="208534"/>
                </a:lnTo>
                <a:lnTo>
                  <a:pt x="6350" y="129921"/>
                </a:lnTo>
                <a:lnTo>
                  <a:pt x="6350" y="6350"/>
                </a:lnTo>
                <a:lnTo>
                  <a:pt x="114300" y="84963"/>
                </a:lnTo>
                <a:lnTo>
                  <a:pt x="222250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2" name="Freeform 3"/>
          <p:cNvSpPr/>
          <p:nvPr/>
        </p:nvSpPr>
        <p:spPr>
          <a:xfrm>
            <a:off x="3071159" y="1891348"/>
            <a:ext cx="211590" cy="198158"/>
          </a:xfrm>
          <a:custGeom>
            <a:avLst/>
            <a:gdLst>
              <a:gd name="connsiteX0" fmla="*/ 215900 w 215900"/>
              <a:gd name="connsiteY0" fmla="*/ 0 h 202183"/>
              <a:gd name="connsiteX1" fmla="*/ 215900 w 215900"/>
              <a:gd name="connsiteY1" fmla="*/ 123570 h 202183"/>
              <a:gd name="connsiteX2" fmla="*/ 107950 w 215900"/>
              <a:gd name="connsiteY2" fmla="*/ 202183 h 202183"/>
              <a:gd name="connsiteX3" fmla="*/ 0 w 215900"/>
              <a:gd name="connsiteY3" fmla="*/ 123570 h 202183"/>
              <a:gd name="connsiteX4" fmla="*/ 0 w 215900"/>
              <a:gd name="connsiteY4" fmla="*/ 0 h 202183"/>
              <a:gd name="connsiteX5" fmla="*/ 107950 w 215900"/>
              <a:gd name="connsiteY5" fmla="*/ 78613 h 202183"/>
              <a:gd name="connsiteX6" fmla="*/ 215900 w 215900"/>
              <a:gd name="connsiteY6" fmla="*/ 0 h 20218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15900" h="202183">
                <a:moveTo>
                  <a:pt x="215900" y="0"/>
                </a:moveTo>
                <a:lnTo>
                  <a:pt x="215900" y="123570"/>
                </a:lnTo>
                <a:lnTo>
                  <a:pt x="107950" y="202183"/>
                </a:lnTo>
                <a:lnTo>
                  <a:pt x="0" y="123570"/>
                </a:lnTo>
                <a:lnTo>
                  <a:pt x="0" y="0"/>
                </a:lnTo>
                <a:lnTo>
                  <a:pt x="107950" y="78613"/>
                </a:lnTo>
                <a:lnTo>
                  <a:pt x="215900" y="0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3" name="Freeform 3"/>
          <p:cNvSpPr/>
          <p:nvPr/>
        </p:nvSpPr>
        <p:spPr>
          <a:xfrm>
            <a:off x="3064936" y="1885124"/>
            <a:ext cx="224036" cy="210605"/>
          </a:xfrm>
          <a:custGeom>
            <a:avLst/>
            <a:gdLst>
              <a:gd name="connsiteX0" fmla="*/ 222250 w 228600"/>
              <a:gd name="connsiteY0" fmla="*/ 6350 h 214883"/>
              <a:gd name="connsiteX1" fmla="*/ 222250 w 228600"/>
              <a:gd name="connsiteY1" fmla="*/ 129920 h 214883"/>
              <a:gd name="connsiteX2" fmla="*/ 114300 w 228600"/>
              <a:gd name="connsiteY2" fmla="*/ 208533 h 214883"/>
              <a:gd name="connsiteX3" fmla="*/ 6350 w 228600"/>
              <a:gd name="connsiteY3" fmla="*/ 129920 h 214883"/>
              <a:gd name="connsiteX4" fmla="*/ 6350 w 228600"/>
              <a:gd name="connsiteY4" fmla="*/ 6350 h 214883"/>
              <a:gd name="connsiteX5" fmla="*/ 114300 w 228600"/>
              <a:gd name="connsiteY5" fmla="*/ 84963 h 214883"/>
              <a:gd name="connsiteX6" fmla="*/ 222250 w 228600"/>
              <a:gd name="connsiteY6" fmla="*/ 6350 h 21488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28600" h="214883">
                <a:moveTo>
                  <a:pt x="222250" y="6350"/>
                </a:moveTo>
                <a:lnTo>
                  <a:pt x="222250" y="129920"/>
                </a:lnTo>
                <a:lnTo>
                  <a:pt x="114300" y="208533"/>
                </a:lnTo>
                <a:lnTo>
                  <a:pt x="6350" y="129920"/>
                </a:lnTo>
                <a:lnTo>
                  <a:pt x="6350" y="6350"/>
                </a:lnTo>
                <a:lnTo>
                  <a:pt x="114300" y="84963"/>
                </a:lnTo>
                <a:lnTo>
                  <a:pt x="222250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4" name="Freeform 3"/>
          <p:cNvSpPr/>
          <p:nvPr/>
        </p:nvSpPr>
        <p:spPr>
          <a:xfrm>
            <a:off x="3071159" y="1707378"/>
            <a:ext cx="211590" cy="198283"/>
          </a:xfrm>
          <a:custGeom>
            <a:avLst/>
            <a:gdLst>
              <a:gd name="connsiteX0" fmla="*/ 215900 w 215900"/>
              <a:gd name="connsiteY0" fmla="*/ 0 h 202310"/>
              <a:gd name="connsiteX1" fmla="*/ 215900 w 215900"/>
              <a:gd name="connsiteY1" fmla="*/ 123570 h 202310"/>
              <a:gd name="connsiteX2" fmla="*/ 107950 w 215900"/>
              <a:gd name="connsiteY2" fmla="*/ 202311 h 202310"/>
              <a:gd name="connsiteX3" fmla="*/ 0 w 215900"/>
              <a:gd name="connsiteY3" fmla="*/ 123570 h 202310"/>
              <a:gd name="connsiteX4" fmla="*/ 0 w 215900"/>
              <a:gd name="connsiteY4" fmla="*/ 0 h 202310"/>
              <a:gd name="connsiteX5" fmla="*/ 107950 w 215900"/>
              <a:gd name="connsiteY5" fmla="*/ 78739 h 202310"/>
              <a:gd name="connsiteX6" fmla="*/ 215900 w 215900"/>
              <a:gd name="connsiteY6" fmla="*/ 0 h 20231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15900" h="202310">
                <a:moveTo>
                  <a:pt x="215900" y="0"/>
                </a:moveTo>
                <a:lnTo>
                  <a:pt x="215900" y="123570"/>
                </a:lnTo>
                <a:lnTo>
                  <a:pt x="107950" y="202311"/>
                </a:lnTo>
                <a:lnTo>
                  <a:pt x="0" y="123570"/>
                </a:lnTo>
                <a:lnTo>
                  <a:pt x="0" y="0"/>
                </a:lnTo>
                <a:lnTo>
                  <a:pt x="107950" y="78739"/>
                </a:lnTo>
                <a:lnTo>
                  <a:pt x="215900" y="0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5" name="Freeform 3"/>
          <p:cNvSpPr/>
          <p:nvPr/>
        </p:nvSpPr>
        <p:spPr>
          <a:xfrm>
            <a:off x="3064936" y="1701154"/>
            <a:ext cx="224036" cy="210730"/>
          </a:xfrm>
          <a:custGeom>
            <a:avLst/>
            <a:gdLst>
              <a:gd name="connsiteX0" fmla="*/ 222250 w 228600"/>
              <a:gd name="connsiteY0" fmla="*/ 6350 h 215010"/>
              <a:gd name="connsiteX1" fmla="*/ 222250 w 228600"/>
              <a:gd name="connsiteY1" fmla="*/ 129920 h 215010"/>
              <a:gd name="connsiteX2" fmla="*/ 114300 w 228600"/>
              <a:gd name="connsiteY2" fmla="*/ 208661 h 215010"/>
              <a:gd name="connsiteX3" fmla="*/ 6350 w 228600"/>
              <a:gd name="connsiteY3" fmla="*/ 129920 h 215010"/>
              <a:gd name="connsiteX4" fmla="*/ 6350 w 228600"/>
              <a:gd name="connsiteY4" fmla="*/ 6350 h 215010"/>
              <a:gd name="connsiteX5" fmla="*/ 114300 w 228600"/>
              <a:gd name="connsiteY5" fmla="*/ 85089 h 215010"/>
              <a:gd name="connsiteX6" fmla="*/ 222250 w 228600"/>
              <a:gd name="connsiteY6" fmla="*/ 6350 h 21501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28600" h="215010">
                <a:moveTo>
                  <a:pt x="222250" y="6350"/>
                </a:moveTo>
                <a:lnTo>
                  <a:pt x="222250" y="129920"/>
                </a:lnTo>
                <a:lnTo>
                  <a:pt x="114300" y="208661"/>
                </a:lnTo>
                <a:lnTo>
                  <a:pt x="6350" y="129920"/>
                </a:lnTo>
                <a:lnTo>
                  <a:pt x="6350" y="6350"/>
                </a:lnTo>
                <a:lnTo>
                  <a:pt x="114300" y="85089"/>
                </a:lnTo>
                <a:lnTo>
                  <a:pt x="222250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6" name="Freeform 3"/>
          <p:cNvSpPr/>
          <p:nvPr/>
        </p:nvSpPr>
        <p:spPr>
          <a:xfrm>
            <a:off x="2786510" y="2865963"/>
            <a:ext cx="283157" cy="283173"/>
          </a:xfrm>
          <a:custGeom>
            <a:avLst/>
            <a:gdLst>
              <a:gd name="connsiteX0" fmla="*/ 0 w 288925"/>
              <a:gd name="connsiteY0" fmla="*/ 167385 h 288925"/>
              <a:gd name="connsiteX1" fmla="*/ 73532 w 288925"/>
              <a:gd name="connsiteY1" fmla="*/ 167385 h 288925"/>
              <a:gd name="connsiteX2" fmla="*/ 73532 w 288925"/>
              <a:gd name="connsiteY2" fmla="*/ 0 h 288925"/>
              <a:gd name="connsiteX3" fmla="*/ 215264 w 288925"/>
              <a:gd name="connsiteY3" fmla="*/ 0 h 288925"/>
              <a:gd name="connsiteX4" fmla="*/ 215264 w 288925"/>
              <a:gd name="connsiteY4" fmla="*/ 167385 h 288925"/>
              <a:gd name="connsiteX5" fmla="*/ 288925 w 288925"/>
              <a:gd name="connsiteY5" fmla="*/ 167385 h 288925"/>
              <a:gd name="connsiteX6" fmla="*/ 144398 w 288925"/>
              <a:gd name="connsiteY6" fmla="*/ 288925 h 288925"/>
              <a:gd name="connsiteX7" fmla="*/ 0 w 288925"/>
              <a:gd name="connsiteY7" fmla="*/ 167385 h 28892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288925" h="288925">
                <a:moveTo>
                  <a:pt x="0" y="167385"/>
                </a:moveTo>
                <a:lnTo>
                  <a:pt x="73532" y="167385"/>
                </a:lnTo>
                <a:lnTo>
                  <a:pt x="73532" y="0"/>
                </a:lnTo>
                <a:lnTo>
                  <a:pt x="215264" y="0"/>
                </a:lnTo>
                <a:lnTo>
                  <a:pt x="215264" y="167385"/>
                </a:lnTo>
                <a:lnTo>
                  <a:pt x="288925" y="167385"/>
                </a:lnTo>
                <a:lnTo>
                  <a:pt x="144398" y="288925"/>
                </a:lnTo>
                <a:lnTo>
                  <a:pt x="0" y="167385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7" name="Freeform 3"/>
          <p:cNvSpPr/>
          <p:nvPr/>
        </p:nvSpPr>
        <p:spPr>
          <a:xfrm>
            <a:off x="2780287" y="2859739"/>
            <a:ext cx="295603" cy="295620"/>
          </a:xfrm>
          <a:custGeom>
            <a:avLst/>
            <a:gdLst>
              <a:gd name="connsiteX0" fmla="*/ 6350 w 301625"/>
              <a:gd name="connsiteY0" fmla="*/ 173735 h 301625"/>
              <a:gd name="connsiteX1" fmla="*/ 79882 w 301625"/>
              <a:gd name="connsiteY1" fmla="*/ 173735 h 301625"/>
              <a:gd name="connsiteX2" fmla="*/ 79882 w 301625"/>
              <a:gd name="connsiteY2" fmla="*/ 6350 h 301625"/>
              <a:gd name="connsiteX3" fmla="*/ 221614 w 301625"/>
              <a:gd name="connsiteY3" fmla="*/ 6350 h 301625"/>
              <a:gd name="connsiteX4" fmla="*/ 221614 w 301625"/>
              <a:gd name="connsiteY4" fmla="*/ 173735 h 301625"/>
              <a:gd name="connsiteX5" fmla="*/ 295275 w 301625"/>
              <a:gd name="connsiteY5" fmla="*/ 173735 h 301625"/>
              <a:gd name="connsiteX6" fmla="*/ 150748 w 301625"/>
              <a:gd name="connsiteY6" fmla="*/ 295275 h 301625"/>
              <a:gd name="connsiteX7" fmla="*/ 6350 w 301625"/>
              <a:gd name="connsiteY7" fmla="*/ 173735 h 30162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301625" h="301625">
                <a:moveTo>
                  <a:pt x="6350" y="173735"/>
                </a:moveTo>
                <a:lnTo>
                  <a:pt x="79882" y="173735"/>
                </a:lnTo>
                <a:lnTo>
                  <a:pt x="79882" y="6350"/>
                </a:lnTo>
                <a:lnTo>
                  <a:pt x="221614" y="6350"/>
                </a:lnTo>
                <a:lnTo>
                  <a:pt x="221614" y="173735"/>
                </a:lnTo>
                <a:lnTo>
                  <a:pt x="295275" y="173735"/>
                </a:lnTo>
                <a:lnTo>
                  <a:pt x="150748" y="295275"/>
                </a:lnTo>
                <a:lnTo>
                  <a:pt x="6350" y="173735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8" name="Freeform 3"/>
          <p:cNvSpPr/>
          <p:nvPr/>
        </p:nvSpPr>
        <p:spPr>
          <a:xfrm>
            <a:off x="4550793" y="2091126"/>
            <a:ext cx="2823723" cy="776329"/>
          </a:xfrm>
          <a:custGeom>
            <a:avLst/>
            <a:gdLst>
              <a:gd name="connsiteX0" fmla="*/ 0 w 2881248"/>
              <a:gd name="connsiteY0" fmla="*/ 132079 h 792098"/>
              <a:gd name="connsiteX1" fmla="*/ 131952 w 2881248"/>
              <a:gd name="connsiteY1" fmla="*/ 0 h 792098"/>
              <a:gd name="connsiteX2" fmla="*/ 131952 w 2881248"/>
              <a:gd name="connsiteY2" fmla="*/ 0 h 792098"/>
              <a:gd name="connsiteX3" fmla="*/ 131952 w 2881248"/>
              <a:gd name="connsiteY3" fmla="*/ 0 h 792098"/>
              <a:gd name="connsiteX4" fmla="*/ 2749168 w 2881248"/>
              <a:gd name="connsiteY4" fmla="*/ 0 h 792098"/>
              <a:gd name="connsiteX5" fmla="*/ 2749168 w 2881248"/>
              <a:gd name="connsiteY5" fmla="*/ 0 h 792098"/>
              <a:gd name="connsiteX6" fmla="*/ 2881248 w 2881248"/>
              <a:gd name="connsiteY6" fmla="*/ 132079 h 792098"/>
              <a:gd name="connsiteX7" fmla="*/ 2881248 w 2881248"/>
              <a:gd name="connsiteY7" fmla="*/ 132079 h 792098"/>
              <a:gd name="connsiteX8" fmla="*/ 2881248 w 2881248"/>
              <a:gd name="connsiteY8" fmla="*/ 132079 h 792098"/>
              <a:gd name="connsiteX9" fmla="*/ 2881248 w 2881248"/>
              <a:gd name="connsiteY9" fmla="*/ 660145 h 792098"/>
              <a:gd name="connsiteX10" fmla="*/ 2881248 w 2881248"/>
              <a:gd name="connsiteY10" fmla="*/ 660145 h 792098"/>
              <a:gd name="connsiteX11" fmla="*/ 2749168 w 2881248"/>
              <a:gd name="connsiteY11" fmla="*/ 792098 h 792098"/>
              <a:gd name="connsiteX12" fmla="*/ 2749168 w 2881248"/>
              <a:gd name="connsiteY12" fmla="*/ 792098 h 792098"/>
              <a:gd name="connsiteX13" fmla="*/ 2749168 w 2881248"/>
              <a:gd name="connsiteY13" fmla="*/ 792098 h 792098"/>
              <a:gd name="connsiteX14" fmla="*/ 131952 w 2881248"/>
              <a:gd name="connsiteY14" fmla="*/ 792098 h 792098"/>
              <a:gd name="connsiteX15" fmla="*/ 131952 w 2881248"/>
              <a:gd name="connsiteY15" fmla="*/ 792098 h 792098"/>
              <a:gd name="connsiteX16" fmla="*/ 0 w 2881248"/>
              <a:gd name="connsiteY16" fmla="*/ 660145 h 792098"/>
              <a:gd name="connsiteX17" fmla="*/ 0 w 2881248"/>
              <a:gd name="connsiteY17" fmla="*/ 660145 h 792098"/>
              <a:gd name="connsiteX18" fmla="*/ 0 w 2881248"/>
              <a:gd name="connsiteY18" fmla="*/ 132079 h 79209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2881248" h="792098">
                <a:moveTo>
                  <a:pt x="0" y="132079"/>
                </a:moveTo>
                <a:cubicBezTo>
                  <a:pt x="0" y="59054"/>
                  <a:pt x="59054" y="0"/>
                  <a:pt x="131952" y="0"/>
                </a:cubicBezTo>
                <a:cubicBezTo>
                  <a:pt x="131952" y="0"/>
                  <a:pt x="131952" y="0"/>
                  <a:pt x="131952" y="0"/>
                </a:cubicBezTo>
                <a:lnTo>
                  <a:pt x="131952" y="0"/>
                </a:lnTo>
                <a:lnTo>
                  <a:pt x="2749168" y="0"/>
                </a:lnTo>
                <a:lnTo>
                  <a:pt x="2749168" y="0"/>
                </a:lnTo>
                <a:cubicBezTo>
                  <a:pt x="2822193" y="0"/>
                  <a:pt x="2881248" y="59054"/>
                  <a:pt x="2881248" y="132079"/>
                </a:cubicBezTo>
                <a:cubicBezTo>
                  <a:pt x="2881248" y="132079"/>
                  <a:pt x="2881248" y="132079"/>
                  <a:pt x="2881248" y="132079"/>
                </a:cubicBezTo>
                <a:lnTo>
                  <a:pt x="2881248" y="132079"/>
                </a:lnTo>
                <a:lnTo>
                  <a:pt x="2881248" y="660145"/>
                </a:lnTo>
                <a:lnTo>
                  <a:pt x="2881248" y="660145"/>
                </a:lnTo>
                <a:cubicBezTo>
                  <a:pt x="2881248" y="733044"/>
                  <a:pt x="2822193" y="792098"/>
                  <a:pt x="2749168" y="792098"/>
                </a:cubicBezTo>
                <a:cubicBezTo>
                  <a:pt x="2749168" y="792098"/>
                  <a:pt x="2749168" y="792098"/>
                  <a:pt x="2749168" y="792098"/>
                </a:cubicBezTo>
                <a:lnTo>
                  <a:pt x="2749168" y="792098"/>
                </a:lnTo>
                <a:lnTo>
                  <a:pt x="131952" y="792098"/>
                </a:lnTo>
                <a:lnTo>
                  <a:pt x="131952" y="792098"/>
                </a:lnTo>
                <a:cubicBezTo>
                  <a:pt x="59054" y="792098"/>
                  <a:pt x="0" y="733044"/>
                  <a:pt x="0" y="660145"/>
                </a:cubicBezTo>
                <a:cubicBezTo>
                  <a:pt x="0" y="660145"/>
                  <a:pt x="0" y="660145"/>
                  <a:pt x="0" y="660145"/>
                </a:cubicBezTo>
                <a:lnTo>
                  <a:pt x="0" y="132079"/>
                </a:lnTo>
              </a:path>
            </a:pathLst>
          </a:custGeom>
          <a:solidFill>
            <a:srgbClr val="DEDED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9" name="Freeform 3"/>
          <p:cNvSpPr/>
          <p:nvPr/>
        </p:nvSpPr>
        <p:spPr>
          <a:xfrm>
            <a:off x="4544569" y="2084902"/>
            <a:ext cx="2836170" cy="788777"/>
          </a:xfrm>
          <a:custGeom>
            <a:avLst/>
            <a:gdLst>
              <a:gd name="connsiteX0" fmla="*/ 6350 w 2893948"/>
              <a:gd name="connsiteY0" fmla="*/ 138429 h 804798"/>
              <a:gd name="connsiteX1" fmla="*/ 138302 w 2893948"/>
              <a:gd name="connsiteY1" fmla="*/ 6350 h 804798"/>
              <a:gd name="connsiteX2" fmla="*/ 138302 w 2893948"/>
              <a:gd name="connsiteY2" fmla="*/ 6350 h 804798"/>
              <a:gd name="connsiteX3" fmla="*/ 138302 w 2893948"/>
              <a:gd name="connsiteY3" fmla="*/ 6350 h 804798"/>
              <a:gd name="connsiteX4" fmla="*/ 2755518 w 2893948"/>
              <a:gd name="connsiteY4" fmla="*/ 6350 h 804798"/>
              <a:gd name="connsiteX5" fmla="*/ 2755518 w 2893948"/>
              <a:gd name="connsiteY5" fmla="*/ 6350 h 804798"/>
              <a:gd name="connsiteX6" fmla="*/ 2887598 w 2893948"/>
              <a:gd name="connsiteY6" fmla="*/ 138429 h 804798"/>
              <a:gd name="connsiteX7" fmla="*/ 2887598 w 2893948"/>
              <a:gd name="connsiteY7" fmla="*/ 138429 h 804798"/>
              <a:gd name="connsiteX8" fmla="*/ 2887598 w 2893948"/>
              <a:gd name="connsiteY8" fmla="*/ 138429 h 804798"/>
              <a:gd name="connsiteX9" fmla="*/ 2887598 w 2893948"/>
              <a:gd name="connsiteY9" fmla="*/ 666495 h 804798"/>
              <a:gd name="connsiteX10" fmla="*/ 2887598 w 2893948"/>
              <a:gd name="connsiteY10" fmla="*/ 666495 h 804798"/>
              <a:gd name="connsiteX11" fmla="*/ 2755518 w 2893948"/>
              <a:gd name="connsiteY11" fmla="*/ 798448 h 804798"/>
              <a:gd name="connsiteX12" fmla="*/ 2755518 w 2893948"/>
              <a:gd name="connsiteY12" fmla="*/ 798448 h 804798"/>
              <a:gd name="connsiteX13" fmla="*/ 2755518 w 2893948"/>
              <a:gd name="connsiteY13" fmla="*/ 798448 h 804798"/>
              <a:gd name="connsiteX14" fmla="*/ 138302 w 2893948"/>
              <a:gd name="connsiteY14" fmla="*/ 798448 h 804798"/>
              <a:gd name="connsiteX15" fmla="*/ 138302 w 2893948"/>
              <a:gd name="connsiteY15" fmla="*/ 798448 h 804798"/>
              <a:gd name="connsiteX16" fmla="*/ 6350 w 2893948"/>
              <a:gd name="connsiteY16" fmla="*/ 666495 h 804798"/>
              <a:gd name="connsiteX17" fmla="*/ 6350 w 2893948"/>
              <a:gd name="connsiteY17" fmla="*/ 666495 h 804798"/>
              <a:gd name="connsiteX18" fmla="*/ 6350 w 2893948"/>
              <a:gd name="connsiteY18" fmla="*/ 138429 h 80479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2893948" h="804798">
                <a:moveTo>
                  <a:pt x="6350" y="138429"/>
                </a:moveTo>
                <a:cubicBezTo>
                  <a:pt x="6350" y="65404"/>
                  <a:pt x="65404" y="6350"/>
                  <a:pt x="138302" y="6350"/>
                </a:cubicBezTo>
                <a:cubicBezTo>
                  <a:pt x="138302" y="6350"/>
                  <a:pt x="138302" y="6350"/>
                  <a:pt x="138302" y="6350"/>
                </a:cubicBezTo>
                <a:lnTo>
                  <a:pt x="138302" y="6350"/>
                </a:lnTo>
                <a:lnTo>
                  <a:pt x="2755518" y="6350"/>
                </a:lnTo>
                <a:lnTo>
                  <a:pt x="2755518" y="6350"/>
                </a:lnTo>
                <a:cubicBezTo>
                  <a:pt x="2828543" y="6350"/>
                  <a:pt x="2887598" y="65404"/>
                  <a:pt x="2887598" y="138429"/>
                </a:cubicBezTo>
                <a:cubicBezTo>
                  <a:pt x="2887598" y="138429"/>
                  <a:pt x="2887598" y="138429"/>
                  <a:pt x="2887598" y="138429"/>
                </a:cubicBezTo>
                <a:lnTo>
                  <a:pt x="2887598" y="138429"/>
                </a:lnTo>
                <a:lnTo>
                  <a:pt x="2887598" y="666495"/>
                </a:lnTo>
                <a:lnTo>
                  <a:pt x="2887598" y="666495"/>
                </a:lnTo>
                <a:cubicBezTo>
                  <a:pt x="2887598" y="739394"/>
                  <a:pt x="2828543" y="798448"/>
                  <a:pt x="2755518" y="798448"/>
                </a:cubicBezTo>
                <a:cubicBezTo>
                  <a:pt x="2755518" y="798448"/>
                  <a:pt x="2755518" y="798448"/>
                  <a:pt x="2755518" y="798448"/>
                </a:cubicBezTo>
                <a:lnTo>
                  <a:pt x="2755518" y="798448"/>
                </a:lnTo>
                <a:lnTo>
                  <a:pt x="138302" y="798448"/>
                </a:lnTo>
                <a:lnTo>
                  <a:pt x="138302" y="798448"/>
                </a:lnTo>
                <a:cubicBezTo>
                  <a:pt x="65404" y="798448"/>
                  <a:pt x="6350" y="739394"/>
                  <a:pt x="6350" y="666495"/>
                </a:cubicBezTo>
                <a:cubicBezTo>
                  <a:pt x="6350" y="666495"/>
                  <a:pt x="6350" y="666495"/>
                  <a:pt x="6350" y="666495"/>
                </a:cubicBezTo>
                <a:lnTo>
                  <a:pt x="6350" y="138429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0" name="Freeform 3"/>
          <p:cNvSpPr/>
          <p:nvPr/>
        </p:nvSpPr>
        <p:spPr>
          <a:xfrm>
            <a:off x="2081668" y="3149136"/>
            <a:ext cx="1975873" cy="636424"/>
          </a:xfrm>
          <a:custGeom>
            <a:avLst/>
            <a:gdLst>
              <a:gd name="connsiteX0" fmla="*/ 0 w 2016125"/>
              <a:gd name="connsiteY0" fmla="*/ 108203 h 649351"/>
              <a:gd name="connsiteX1" fmla="*/ 108204 w 2016125"/>
              <a:gd name="connsiteY1" fmla="*/ 0 h 649351"/>
              <a:gd name="connsiteX2" fmla="*/ 108204 w 2016125"/>
              <a:gd name="connsiteY2" fmla="*/ 0 h 649351"/>
              <a:gd name="connsiteX3" fmla="*/ 108204 w 2016125"/>
              <a:gd name="connsiteY3" fmla="*/ 0 h 649351"/>
              <a:gd name="connsiteX4" fmla="*/ 1907921 w 2016125"/>
              <a:gd name="connsiteY4" fmla="*/ 0 h 649351"/>
              <a:gd name="connsiteX5" fmla="*/ 1907921 w 2016125"/>
              <a:gd name="connsiteY5" fmla="*/ 0 h 649351"/>
              <a:gd name="connsiteX6" fmla="*/ 2016125 w 2016125"/>
              <a:gd name="connsiteY6" fmla="*/ 108203 h 649351"/>
              <a:gd name="connsiteX7" fmla="*/ 2016125 w 2016125"/>
              <a:gd name="connsiteY7" fmla="*/ 108203 h 649351"/>
              <a:gd name="connsiteX8" fmla="*/ 2016125 w 2016125"/>
              <a:gd name="connsiteY8" fmla="*/ 108203 h 649351"/>
              <a:gd name="connsiteX9" fmla="*/ 2016125 w 2016125"/>
              <a:gd name="connsiteY9" fmla="*/ 541020 h 649351"/>
              <a:gd name="connsiteX10" fmla="*/ 2016125 w 2016125"/>
              <a:gd name="connsiteY10" fmla="*/ 541020 h 649351"/>
              <a:gd name="connsiteX11" fmla="*/ 1907921 w 2016125"/>
              <a:gd name="connsiteY11" fmla="*/ 649351 h 649351"/>
              <a:gd name="connsiteX12" fmla="*/ 1907921 w 2016125"/>
              <a:gd name="connsiteY12" fmla="*/ 649351 h 649351"/>
              <a:gd name="connsiteX13" fmla="*/ 1907921 w 2016125"/>
              <a:gd name="connsiteY13" fmla="*/ 649351 h 649351"/>
              <a:gd name="connsiteX14" fmla="*/ 108204 w 2016125"/>
              <a:gd name="connsiteY14" fmla="*/ 649351 h 649351"/>
              <a:gd name="connsiteX15" fmla="*/ 108204 w 2016125"/>
              <a:gd name="connsiteY15" fmla="*/ 649351 h 649351"/>
              <a:gd name="connsiteX16" fmla="*/ 0 w 2016125"/>
              <a:gd name="connsiteY16" fmla="*/ 541020 h 649351"/>
              <a:gd name="connsiteX17" fmla="*/ 0 w 2016125"/>
              <a:gd name="connsiteY17" fmla="*/ 541020 h 649351"/>
              <a:gd name="connsiteX18" fmla="*/ 0 w 2016125"/>
              <a:gd name="connsiteY18" fmla="*/ 108203 h 64935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2016125" h="649351">
                <a:moveTo>
                  <a:pt x="0" y="108203"/>
                </a:moveTo>
                <a:cubicBezTo>
                  <a:pt x="0" y="48386"/>
                  <a:pt x="48386" y="0"/>
                  <a:pt x="108204" y="0"/>
                </a:cubicBezTo>
                <a:cubicBezTo>
                  <a:pt x="108204" y="0"/>
                  <a:pt x="108204" y="0"/>
                  <a:pt x="108204" y="0"/>
                </a:cubicBezTo>
                <a:lnTo>
                  <a:pt x="108204" y="0"/>
                </a:lnTo>
                <a:lnTo>
                  <a:pt x="1907921" y="0"/>
                </a:lnTo>
                <a:lnTo>
                  <a:pt x="1907921" y="0"/>
                </a:lnTo>
                <a:cubicBezTo>
                  <a:pt x="1967610" y="0"/>
                  <a:pt x="2016125" y="48386"/>
                  <a:pt x="2016125" y="108203"/>
                </a:cubicBezTo>
                <a:cubicBezTo>
                  <a:pt x="2016125" y="108203"/>
                  <a:pt x="2016125" y="108203"/>
                  <a:pt x="2016125" y="108203"/>
                </a:cubicBezTo>
                <a:lnTo>
                  <a:pt x="2016125" y="108203"/>
                </a:lnTo>
                <a:lnTo>
                  <a:pt x="2016125" y="541020"/>
                </a:lnTo>
                <a:lnTo>
                  <a:pt x="2016125" y="541020"/>
                </a:lnTo>
                <a:cubicBezTo>
                  <a:pt x="2016125" y="600836"/>
                  <a:pt x="1967610" y="649351"/>
                  <a:pt x="1907921" y="649351"/>
                </a:cubicBezTo>
                <a:cubicBezTo>
                  <a:pt x="1907921" y="649351"/>
                  <a:pt x="1907921" y="649351"/>
                  <a:pt x="1907921" y="649351"/>
                </a:cubicBezTo>
                <a:lnTo>
                  <a:pt x="1907921" y="649351"/>
                </a:lnTo>
                <a:lnTo>
                  <a:pt x="108204" y="649351"/>
                </a:lnTo>
                <a:lnTo>
                  <a:pt x="108204" y="649351"/>
                </a:lnTo>
                <a:cubicBezTo>
                  <a:pt x="48386" y="649351"/>
                  <a:pt x="0" y="600836"/>
                  <a:pt x="0" y="541020"/>
                </a:cubicBezTo>
                <a:cubicBezTo>
                  <a:pt x="0" y="541020"/>
                  <a:pt x="0" y="541020"/>
                  <a:pt x="0" y="541020"/>
                </a:cubicBezTo>
                <a:lnTo>
                  <a:pt x="0" y="108203"/>
                </a:lnTo>
              </a:path>
            </a:pathLst>
          </a:custGeom>
          <a:solidFill>
            <a:srgbClr val="DEDED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1" name="Freeform 3"/>
          <p:cNvSpPr/>
          <p:nvPr/>
        </p:nvSpPr>
        <p:spPr>
          <a:xfrm>
            <a:off x="2075445" y="3142913"/>
            <a:ext cx="1988319" cy="648871"/>
          </a:xfrm>
          <a:custGeom>
            <a:avLst/>
            <a:gdLst>
              <a:gd name="connsiteX0" fmla="*/ 6350 w 2028825"/>
              <a:gd name="connsiteY0" fmla="*/ 114553 h 662051"/>
              <a:gd name="connsiteX1" fmla="*/ 114554 w 2028825"/>
              <a:gd name="connsiteY1" fmla="*/ 6350 h 662051"/>
              <a:gd name="connsiteX2" fmla="*/ 114554 w 2028825"/>
              <a:gd name="connsiteY2" fmla="*/ 6350 h 662051"/>
              <a:gd name="connsiteX3" fmla="*/ 114554 w 2028825"/>
              <a:gd name="connsiteY3" fmla="*/ 6350 h 662051"/>
              <a:gd name="connsiteX4" fmla="*/ 1914271 w 2028825"/>
              <a:gd name="connsiteY4" fmla="*/ 6350 h 662051"/>
              <a:gd name="connsiteX5" fmla="*/ 1914271 w 2028825"/>
              <a:gd name="connsiteY5" fmla="*/ 6350 h 662051"/>
              <a:gd name="connsiteX6" fmla="*/ 2022475 w 2028825"/>
              <a:gd name="connsiteY6" fmla="*/ 114553 h 662051"/>
              <a:gd name="connsiteX7" fmla="*/ 2022475 w 2028825"/>
              <a:gd name="connsiteY7" fmla="*/ 114553 h 662051"/>
              <a:gd name="connsiteX8" fmla="*/ 2022475 w 2028825"/>
              <a:gd name="connsiteY8" fmla="*/ 114553 h 662051"/>
              <a:gd name="connsiteX9" fmla="*/ 2022475 w 2028825"/>
              <a:gd name="connsiteY9" fmla="*/ 547370 h 662051"/>
              <a:gd name="connsiteX10" fmla="*/ 2022475 w 2028825"/>
              <a:gd name="connsiteY10" fmla="*/ 547370 h 662051"/>
              <a:gd name="connsiteX11" fmla="*/ 1914271 w 2028825"/>
              <a:gd name="connsiteY11" fmla="*/ 655701 h 662051"/>
              <a:gd name="connsiteX12" fmla="*/ 1914271 w 2028825"/>
              <a:gd name="connsiteY12" fmla="*/ 655701 h 662051"/>
              <a:gd name="connsiteX13" fmla="*/ 1914271 w 2028825"/>
              <a:gd name="connsiteY13" fmla="*/ 655701 h 662051"/>
              <a:gd name="connsiteX14" fmla="*/ 114554 w 2028825"/>
              <a:gd name="connsiteY14" fmla="*/ 655701 h 662051"/>
              <a:gd name="connsiteX15" fmla="*/ 114554 w 2028825"/>
              <a:gd name="connsiteY15" fmla="*/ 655701 h 662051"/>
              <a:gd name="connsiteX16" fmla="*/ 6350 w 2028825"/>
              <a:gd name="connsiteY16" fmla="*/ 547370 h 662051"/>
              <a:gd name="connsiteX17" fmla="*/ 6350 w 2028825"/>
              <a:gd name="connsiteY17" fmla="*/ 547370 h 662051"/>
              <a:gd name="connsiteX18" fmla="*/ 6350 w 2028825"/>
              <a:gd name="connsiteY18" fmla="*/ 114553 h 66205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2028825" h="662051">
                <a:moveTo>
                  <a:pt x="6350" y="114553"/>
                </a:moveTo>
                <a:cubicBezTo>
                  <a:pt x="6350" y="54736"/>
                  <a:pt x="54736" y="6350"/>
                  <a:pt x="114554" y="6350"/>
                </a:cubicBezTo>
                <a:cubicBezTo>
                  <a:pt x="114554" y="6350"/>
                  <a:pt x="114554" y="6350"/>
                  <a:pt x="114554" y="6350"/>
                </a:cubicBezTo>
                <a:lnTo>
                  <a:pt x="114554" y="6350"/>
                </a:lnTo>
                <a:lnTo>
                  <a:pt x="1914271" y="6350"/>
                </a:lnTo>
                <a:lnTo>
                  <a:pt x="1914271" y="6350"/>
                </a:lnTo>
                <a:cubicBezTo>
                  <a:pt x="1973960" y="6350"/>
                  <a:pt x="2022475" y="54736"/>
                  <a:pt x="2022475" y="114553"/>
                </a:cubicBezTo>
                <a:cubicBezTo>
                  <a:pt x="2022475" y="114553"/>
                  <a:pt x="2022475" y="114553"/>
                  <a:pt x="2022475" y="114553"/>
                </a:cubicBezTo>
                <a:lnTo>
                  <a:pt x="2022475" y="114553"/>
                </a:lnTo>
                <a:lnTo>
                  <a:pt x="2022475" y="547370"/>
                </a:lnTo>
                <a:lnTo>
                  <a:pt x="2022475" y="547370"/>
                </a:lnTo>
                <a:cubicBezTo>
                  <a:pt x="2022475" y="607186"/>
                  <a:pt x="1973960" y="655701"/>
                  <a:pt x="1914271" y="655701"/>
                </a:cubicBezTo>
                <a:cubicBezTo>
                  <a:pt x="1914271" y="655701"/>
                  <a:pt x="1914271" y="655701"/>
                  <a:pt x="1914271" y="655701"/>
                </a:cubicBezTo>
                <a:lnTo>
                  <a:pt x="1914271" y="655701"/>
                </a:lnTo>
                <a:lnTo>
                  <a:pt x="114554" y="655701"/>
                </a:lnTo>
                <a:lnTo>
                  <a:pt x="114554" y="655701"/>
                </a:lnTo>
                <a:cubicBezTo>
                  <a:pt x="54736" y="655701"/>
                  <a:pt x="6350" y="607186"/>
                  <a:pt x="6350" y="547370"/>
                </a:cubicBezTo>
                <a:cubicBezTo>
                  <a:pt x="6350" y="547370"/>
                  <a:pt x="6350" y="547370"/>
                  <a:pt x="6350" y="547370"/>
                </a:cubicBezTo>
                <a:lnTo>
                  <a:pt x="6350" y="114553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2" name="Freeform 3"/>
          <p:cNvSpPr/>
          <p:nvPr/>
        </p:nvSpPr>
        <p:spPr>
          <a:xfrm>
            <a:off x="1658489" y="4137067"/>
            <a:ext cx="2399052" cy="636424"/>
          </a:xfrm>
          <a:custGeom>
            <a:avLst/>
            <a:gdLst>
              <a:gd name="connsiteX0" fmla="*/ 0 w 2447925"/>
              <a:gd name="connsiteY0" fmla="*/ 108330 h 649351"/>
              <a:gd name="connsiteX1" fmla="*/ 108204 w 2447925"/>
              <a:gd name="connsiteY1" fmla="*/ 0 h 649351"/>
              <a:gd name="connsiteX2" fmla="*/ 108204 w 2447925"/>
              <a:gd name="connsiteY2" fmla="*/ 0 h 649351"/>
              <a:gd name="connsiteX3" fmla="*/ 108204 w 2447925"/>
              <a:gd name="connsiteY3" fmla="*/ 0 h 649351"/>
              <a:gd name="connsiteX4" fmla="*/ 2339721 w 2447925"/>
              <a:gd name="connsiteY4" fmla="*/ 0 h 649351"/>
              <a:gd name="connsiteX5" fmla="*/ 2339721 w 2447925"/>
              <a:gd name="connsiteY5" fmla="*/ 0 h 649351"/>
              <a:gd name="connsiteX6" fmla="*/ 2447925 w 2447925"/>
              <a:gd name="connsiteY6" fmla="*/ 108330 h 649351"/>
              <a:gd name="connsiteX7" fmla="*/ 2447925 w 2447925"/>
              <a:gd name="connsiteY7" fmla="*/ 108330 h 649351"/>
              <a:gd name="connsiteX8" fmla="*/ 2447925 w 2447925"/>
              <a:gd name="connsiteY8" fmla="*/ 108330 h 649351"/>
              <a:gd name="connsiteX9" fmla="*/ 2447925 w 2447925"/>
              <a:gd name="connsiteY9" fmla="*/ 541147 h 649351"/>
              <a:gd name="connsiteX10" fmla="*/ 2447925 w 2447925"/>
              <a:gd name="connsiteY10" fmla="*/ 541147 h 649351"/>
              <a:gd name="connsiteX11" fmla="*/ 2339721 w 2447925"/>
              <a:gd name="connsiteY11" fmla="*/ 649351 h 649351"/>
              <a:gd name="connsiteX12" fmla="*/ 2339721 w 2447925"/>
              <a:gd name="connsiteY12" fmla="*/ 649351 h 649351"/>
              <a:gd name="connsiteX13" fmla="*/ 2339721 w 2447925"/>
              <a:gd name="connsiteY13" fmla="*/ 649351 h 649351"/>
              <a:gd name="connsiteX14" fmla="*/ 108204 w 2447925"/>
              <a:gd name="connsiteY14" fmla="*/ 649351 h 649351"/>
              <a:gd name="connsiteX15" fmla="*/ 108204 w 2447925"/>
              <a:gd name="connsiteY15" fmla="*/ 649351 h 649351"/>
              <a:gd name="connsiteX16" fmla="*/ 0 w 2447925"/>
              <a:gd name="connsiteY16" fmla="*/ 541147 h 649351"/>
              <a:gd name="connsiteX17" fmla="*/ 0 w 2447925"/>
              <a:gd name="connsiteY17" fmla="*/ 541147 h 649351"/>
              <a:gd name="connsiteX18" fmla="*/ 0 w 2447925"/>
              <a:gd name="connsiteY18" fmla="*/ 108330 h 64935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2447925" h="649351">
                <a:moveTo>
                  <a:pt x="0" y="108330"/>
                </a:moveTo>
                <a:cubicBezTo>
                  <a:pt x="0" y="48514"/>
                  <a:pt x="48386" y="0"/>
                  <a:pt x="108204" y="0"/>
                </a:cubicBezTo>
                <a:cubicBezTo>
                  <a:pt x="108204" y="0"/>
                  <a:pt x="108204" y="0"/>
                  <a:pt x="108204" y="0"/>
                </a:cubicBezTo>
                <a:lnTo>
                  <a:pt x="108204" y="0"/>
                </a:lnTo>
                <a:lnTo>
                  <a:pt x="2339721" y="0"/>
                </a:lnTo>
                <a:lnTo>
                  <a:pt x="2339721" y="0"/>
                </a:lnTo>
                <a:cubicBezTo>
                  <a:pt x="2399410" y="0"/>
                  <a:pt x="2447925" y="48514"/>
                  <a:pt x="2447925" y="108330"/>
                </a:cubicBezTo>
                <a:cubicBezTo>
                  <a:pt x="2447925" y="108330"/>
                  <a:pt x="2447925" y="108330"/>
                  <a:pt x="2447925" y="108330"/>
                </a:cubicBezTo>
                <a:lnTo>
                  <a:pt x="2447925" y="108330"/>
                </a:lnTo>
                <a:lnTo>
                  <a:pt x="2447925" y="541147"/>
                </a:lnTo>
                <a:lnTo>
                  <a:pt x="2447925" y="541147"/>
                </a:lnTo>
                <a:cubicBezTo>
                  <a:pt x="2447925" y="600836"/>
                  <a:pt x="2399410" y="649351"/>
                  <a:pt x="2339721" y="649351"/>
                </a:cubicBezTo>
                <a:cubicBezTo>
                  <a:pt x="2339721" y="649351"/>
                  <a:pt x="2339721" y="649351"/>
                  <a:pt x="2339721" y="649351"/>
                </a:cubicBezTo>
                <a:lnTo>
                  <a:pt x="2339721" y="649351"/>
                </a:lnTo>
                <a:lnTo>
                  <a:pt x="108204" y="649351"/>
                </a:lnTo>
                <a:lnTo>
                  <a:pt x="108204" y="649351"/>
                </a:lnTo>
                <a:cubicBezTo>
                  <a:pt x="48386" y="649351"/>
                  <a:pt x="0" y="600836"/>
                  <a:pt x="0" y="541147"/>
                </a:cubicBezTo>
                <a:cubicBezTo>
                  <a:pt x="0" y="541147"/>
                  <a:pt x="0" y="541147"/>
                  <a:pt x="0" y="541147"/>
                </a:cubicBezTo>
                <a:lnTo>
                  <a:pt x="0" y="108330"/>
                </a:lnTo>
              </a:path>
            </a:pathLst>
          </a:custGeom>
          <a:solidFill>
            <a:srgbClr val="DEDED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3" name="Freeform 3"/>
          <p:cNvSpPr/>
          <p:nvPr/>
        </p:nvSpPr>
        <p:spPr>
          <a:xfrm>
            <a:off x="1652266" y="4130844"/>
            <a:ext cx="2411498" cy="648871"/>
          </a:xfrm>
          <a:custGeom>
            <a:avLst/>
            <a:gdLst>
              <a:gd name="connsiteX0" fmla="*/ 6350 w 2460625"/>
              <a:gd name="connsiteY0" fmla="*/ 114680 h 662051"/>
              <a:gd name="connsiteX1" fmla="*/ 114554 w 2460625"/>
              <a:gd name="connsiteY1" fmla="*/ 6350 h 662051"/>
              <a:gd name="connsiteX2" fmla="*/ 114554 w 2460625"/>
              <a:gd name="connsiteY2" fmla="*/ 6350 h 662051"/>
              <a:gd name="connsiteX3" fmla="*/ 114554 w 2460625"/>
              <a:gd name="connsiteY3" fmla="*/ 6350 h 662051"/>
              <a:gd name="connsiteX4" fmla="*/ 2346071 w 2460625"/>
              <a:gd name="connsiteY4" fmla="*/ 6350 h 662051"/>
              <a:gd name="connsiteX5" fmla="*/ 2346071 w 2460625"/>
              <a:gd name="connsiteY5" fmla="*/ 6350 h 662051"/>
              <a:gd name="connsiteX6" fmla="*/ 2454275 w 2460625"/>
              <a:gd name="connsiteY6" fmla="*/ 114680 h 662051"/>
              <a:gd name="connsiteX7" fmla="*/ 2454275 w 2460625"/>
              <a:gd name="connsiteY7" fmla="*/ 114680 h 662051"/>
              <a:gd name="connsiteX8" fmla="*/ 2454275 w 2460625"/>
              <a:gd name="connsiteY8" fmla="*/ 114680 h 662051"/>
              <a:gd name="connsiteX9" fmla="*/ 2454275 w 2460625"/>
              <a:gd name="connsiteY9" fmla="*/ 547497 h 662051"/>
              <a:gd name="connsiteX10" fmla="*/ 2454275 w 2460625"/>
              <a:gd name="connsiteY10" fmla="*/ 547497 h 662051"/>
              <a:gd name="connsiteX11" fmla="*/ 2346071 w 2460625"/>
              <a:gd name="connsiteY11" fmla="*/ 655701 h 662051"/>
              <a:gd name="connsiteX12" fmla="*/ 2346071 w 2460625"/>
              <a:gd name="connsiteY12" fmla="*/ 655701 h 662051"/>
              <a:gd name="connsiteX13" fmla="*/ 2346071 w 2460625"/>
              <a:gd name="connsiteY13" fmla="*/ 655701 h 662051"/>
              <a:gd name="connsiteX14" fmla="*/ 114554 w 2460625"/>
              <a:gd name="connsiteY14" fmla="*/ 655701 h 662051"/>
              <a:gd name="connsiteX15" fmla="*/ 114554 w 2460625"/>
              <a:gd name="connsiteY15" fmla="*/ 655701 h 662051"/>
              <a:gd name="connsiteX16" fmla="*/ 6350 w 2460625"/>
              <a:gd name="connsiteY16" fmla="*/ 547497 h 662051"/>
              <a:gd name="connsiteX17" fmla="*/ 6350 w 2460625"/>
              <a:gd name="connsiteY17" fmla="*/ 547497 h 662051"/>
              <a:gd name="connsiteX18" fmla="*/ 6350 w 2460625"/>
              <a:gd name="connsiteY18" fmla="*/ 114680 h 66205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2460625" h="662051">
                <a:moveTo>
                  <a:pt x="6350" y="114680"/>
                </a:moveTo>
                <a:cubicBezTo>
                  <a:pt x="6350" y="54864"/>
                  <a:pt x="54736" y="6350"/>
                  <a:pt x="114554" y="6350"/>
                </a:cubicBezTo>
                <a:cubicBezTo>
                  <a:pt x="114554" y="6350"/>
                  <a:pt x="114554" y="6350"/>
                  <a:pt x="114554" y="6350"/>
                </a:cubicBezTo>
                <a:lnTo>
                  <a:pt x="114554" y="6350"/>
                </a:lnTo>
                <a:lnTo>
                  <a:pt x="2346071" y="6350"/>
                </a:lnTo>
                <a:lnTo>
                  <a:pt x="2346071" y="6350"/>
                </a:lnTo>
                <a:cubicBezTo>
                  <a:pt x="2405760" y="6350"/>
                  <a:pt x="2454275" y="54864"/>
                  <a:pt x="2454275" y="114680"/>
                </a:cubicBezTo>
                <a:cubicBezTo>
                  <a:pt x="2454275" y="114680"/>
                  <a:pt x="2454275" y="114680"/>
                  <a:pt x="2454275" y="114680"/>
                </a:cubicBezTo>
                <a:lnTo>
                  <a:pt x="2454275" y="114680"/>
                </a:lnTo>
                <a:lnTo>
                  <a:pt x="2454275" y="547497"/>
                </a:lnTo>
                <a:lnTo>
                  <a:pt x="2454275" y="547497"/>
                </a:lnTo>
                <a:cubicBezTo>
                  <a:pt x="2454275" y="607186"/>
                  <a:pt x="2405760" y="655701"/>
                  <a:pt x="2346071" y="655701"/>
                </a:cubicBezTo>
                <a:cubicBezTo>
                  <a:pt x="2346071" y="655701"/>
                  <a:pt x="2346071" y="655701"/>
                  <a:pt x="2346071" y="655701"/>
                </a:cubicBezTo>
                <a:lnTo>
                  <a:pt x="2346071" y="655701"/>
                </a:lnTo>
                <a:lnTo>
                  <a:pt x="114554" y="655701"/>
                </a:lnTo>
                <a:lnTo>
                  <a:pt x="114554" y="655701"/>
                </a:lnTo>
                <a:cubicBezTo>
                  <a:pt x="54736" y="655701"/>
                  <a:pt x="6350" y="607186"/>
                  <a:pt x="6350" y="547497"/>
                </a:cubicBezTo>
                <a:cubicBezTo>
                  <a:pt x="6350" y="547497"/>
                  <a:pt x="6350" y="547497"/>
                  <a:pt x="6350" y="547497"/>
                </a:cubicBezTo>
                <a:lnTo>
                  <a:pt x="6350" y="11468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4" name="Freeform 3"/>
          <p:cNvSpPr/>
          <p:nvPr/>
        </p:nvSpPr>
        <p:spPr>
          <a:xfrm>
            <a:off x="4550793" y="3149136"/>
            <a:ext cx="1975873" cy="636424"/>
          </a:xfrm>
          <a:custGeom>
            <a:avLst/>
            <a:gdLst>
              <a:gd name="connsiteX0" fmla="*/ 0 w 2016125"/>
              <a:gd name="connsiteY0" fmla="*/ 108203 h 649351"/>
              <a:gd name="connsiteX1" fmla="*/ 108203 w 2016125"/>
              <a:gd name="connsiteY1" fmla="*/ 0 h 649351"/>
              <a:gd name="connsiteX2" fmla="*/ 108203 w 2016125"/>
              <a:gd name="connsiteY2" fmla="*/ 0 h 649351"/>
              <a:gd name="connsiteX3" fmla="*/ 108203 w 2016125"/>
              <a:gd name="connsiteY3" fmla="*/ 0 h 649351"/>
              <a:gd name="connsiteX4" fmla="*/ 1907793 w 2016125"/>
              <a:gd name="connsiteY4" fmla="*/ 0 h 649351"/>
              <a:gd name="connsiteX5" fmla="*/ 1907793 w 2016125"/>
              <a:gd name="connsiteY5" fmla="*/ 0 h 649351"/>
              <a:gd name="connsiteX6" fmla="*/ 2016125 w 2016125"/>
              <a:gd name="connsiteY6" fmla="*/ 108203 h 649351"/>
              <a:gd name="connsiteX7" fmla="*/ 2016125 w 2016125"/>
              <a:gd name="connsiteY7" fmla="*/ 108203 h 649351"/>
              <a:gd name="connsiteX8" fmla="*/ 2016125 w 2016125"/>
              <a:gd name="connsiteY8" fmla="*/ 108203 h 649351"/>
              <a:gd name="connsiteX9" fmla="*/ 2016125 w 2016125"/>
              <a:gd name="connsiteY9" fmla="*/ 541020 h 649351"/>
              <a:gd name="connsiteX10" fmla="*/ 2016125 w 2016125"/>
              <a:gd name="connsiteY10" fmla="*/ 541020 h 649351"/>
              <a:gd name="connsiteX11" fmla="*/ 1907793 w 2016125"/>
              <a:gd name="connsiteY11" fmla="*/ 649351 h 649351"/>
              <a:gd name="connsiteX12" fmla="*/ 1907793 w 2016125"/>
              <a:gd name="connsiteY12" fmla="*/ 649351 h 649351"/>
              <a:gd name="connsiteX13" fmla="*/ 1907793 w 2016125"/>
              <a:gd name="connsiteY13" fmla="*/ 649351 h 649351"/>
              <a:gd name="connsiteX14" fmla="*/ 108203 w 2016125"/>
              <a:gd name="connsiteY14" fmla="*/ 649351 h 649351"/>
              <a:gd name="connsiteX15" fmla="*/ 108203 w 2016125"/>
              <a:gd name="connsiteY15" fmla="*/ 649351 h 649351"/>
              <a:gd name="connsiteX16" fmla="*/ 0 w 2016125"/>
              <a:gd name="connsiteY16" fmla="*/ 541020 h 649351"/>
              <a:gd name="connsiteX17" fmla="*/ 0 w 2016125"/>
              <a:gd name="connsiteY17" fmla="*/ 541020 h 649351"/>
              <a:gd name="connsiteX18" fmla="*/ 0 w 2016125"/>
              <a:gd name="connsiteY18" fmla="*/ 108203 h 64935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2016125" h="649351">
                <a:moveTo>
                  <a:pt x="0" y="108203"/>
                </a:moveTo>
                <a:cubicBezTo>
                  <a:pt x="0" y="48386"/>
                  <a:pt x="48386" y="0"/>
                  <a:pt x="108203" y="0"/>
                </a:cubicBezTo>
                <a:cubicBezTo>
                  <a:pt x="108203" y="0"/>
                  <a:pt x="108203" y="0"/>
                  <a:pt x="108203" y="0"/>
                </a:cubicBezTo>
                <a:lnTo>
                  <a:pt x="108203" y="0"/>
                </a:lnTo>
                <a:lnTo>
                  <a:pt x="1907793" y="0"/>
                </a:lnTo>
                <a:lnTo>
                  <a:pt x="1907793" y="0"/>
                </a:lnTo>
                <a:cubicBezTo>
                  <a:pt x="1967610" y="0"/>
                  <a:pt x="2016125" y="48386"/>
                  <a:pt x="2016125" y="108203"/>
                </a:cubicBezTo>
                <a:cubicBezTo>
                  <a:pt x="2016125" y="108203"/>
                  <a:pt x="2016125" y="108203"/>
                  <a:pt x="2016125" y="108203"/>
                </a:cubicBezTo>
                <a:lnTo>
                  <a:pt x="2016125" y="108203"/>
                </a:lnTo>
                <a:lnTo>
                  <a:pt x="2016125" y="541020"/>
                </a:lnTo>
                <a:lnTo>
                  <a:pt x="2016125" y="541020"/>
                </a:lnTo>
                <a:cubicBezTo>
                  <a:pt x="2016125" y="600836"/>
                  <a:pt x="1967610" y="649351"/>
                  <a:pt x="1907793" y="649351"/>
                </a:cubicBezTo>
                <a:cubicBezTo>
                  <a:pt x="1907793" y="649351"/>
                  <a:pt x="1907793" y="649351"/>
                  <a:pt x="1907793" y="649351"/>
                </a:cubicBezTo>
                <a:lnTo>
                  <a:pt x="1907793" y="649351"/>
                </a:lnTo>
                <a:lnTo>
                  <a:pt x="108203" y="649351"/>
                </a:lnTo>
                <a:lnTo>
                  <a:pt x="108203" y="649351"/>
                </a:lnTo>
                <a:cubicBezTo>
                  <a:pt x="48386" y="649351"/>
                  <a:pt x="0" y="600836"/>
                  <a:pt x="0" y="541020"/>
                </a:cubicBezTo>
                <a:cubicBezTo>
                  <a:pt x="0" y="541020"/>
                  <a:pt x="0" y="541020"/>
                  <a:pt x="0" y="541020"/>
                </a:cubicBezTo>
                <a:lnTo>
                  <a:pt x="0" y="108203"/>
                </a:lnTo>
              </a:path>
            </a:pathLst>
          </a:custGeom>
          <a:solidFill>
            <a:srgbClr val="DEDED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5" name="Freeform 3"/>
          <p:cNvSpPr/>
          <p:nvPr/>
        </p:nvSpPr>
        <p:spPr>
          <a:xfrm>
            <a:off x="4544570" y="3142913"/>
            <a:ext cx="1988319" cy="648871"/>
          </a:xfrm>
          <a:custGeom>
            <a:avLst/>
            <a:gdLst>
              <a:gd name="connsiteX0" fmla="*/ 6350 w 2028825"/>
              <a:gd name="connsiteY0" fmla="*/ 114553 h 662051"/>
              <a:gd name="connsiteX1" fmla="*/ 114553 w 2028825"/>
              <a:gd name="connsiteY1" fmla="*/ 6350 h 662051"/>
              <a:gd name="connsiteX2" fmla="*/ 114553 w 2028825"/>
              <a:gd name="connsiteY2" fmla="*/ 6350 h 662051"/>
              <a:gd name="connsiteX3" fmla="*/ 114553 w 2028825"/>
              <a:gd name="connsiteY3" fmla="*/ 6350 h 662051"/>
              <a:gd name="connsiteX4" fmla="*/ 1914143 w 2028825"/>
              <a:gd name="connsiteY4" fmla="*/ 6350 h 662051"/>
              <a:gd name="connsiteX5" fmla="*/ 1914143 w 2028825"/>
              <a:gd name="connsiteY5" fmla="*/ 6350 h 662051"/>
              <a:gd name="connsiteX6" fmla="*/ 2022475 w 2028825"/>
              <a:gd name="connsiteY6" fmla="*/ 114553 h 662051"/>
              <a:gd name="connsiteX7" fmla="*/ 2022475 w 2028825"/>
              <a:gd name="connsiteY7" fmla="*/ 114553 h 662051"/>
              <a:gd name="connsiteX8" fmla="*/ 2022475 w 2028825"/>
              <a:gd name="connsiteY8" fmla="*/ 114553 h 662051"/>
              <a:gd name="connsiteX9" fmla="*/ 2022475 w 2028825"/>
              <a:gd name="connsiteY9" fmla="*/ 547370 h 662051"/>
              <a:gd name="connsiteX10" fmla="*/ 2022475 w 2028825"/>
              <a:gd name="connsiteY10" fmla="*/ 547370 h 662051"/>
              <a:gd name="connsiteX11" fmla="*/ 1914143 w 2028825"/>
              <a:gd name="connsiteY11" fmla="*/ 655701 h 662051"/>
              <a:gd name="connsiteX12" fmla="*/ 1914143 w 2028825"/>
              <a:gd name="connsiteY12" fmla="*/ 655701 h 662051"/>
              <a:gd name="connsiteX13" fmla="*/ 1914143 w 2028825"/>
              <a:gd name="connsiteY13" fmla="*/ 655701 h 662051"/>
              <a:gd name="connsiteX14" fmla="*/ 114553 w 2028825"/>
              <a:gd name="connsiteY14" fmla="*/ 655701 h 662051"/>
              <a:gd name="connsiteX15" fmla="*/ 114553 w 2028825"/>
              <a:gd name="connsiteY15" fmla="*/ 655701 h 662051"/>
              <a:gd name="connsiteX16" fmla="*/ 6350 w 2028825"/>
              <a:gd name="connsiteY16" fmla="*/ 547370 h 662051"/>
              <a:gd name="connsiteX17" fmla="*/ 6350 w 2028825"/>
              <a:gd name="connsiteY17" fmla="*/ 547370 h 662051"/>
              <a:gd name="connsiteX18" fmla="*/ 6350 w 2028825"/>
              <a:gd name="connsiteY18" fmla="*/ 114553 h 66205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2028825" h="662051">
                <a:moveTo>
                  <a:pt x="6350" y="114553"/>
                </a:moveTo>
                <a:cubicBezTo>
                  <a:pt x="6350" y="54736"/>
                  <a:pt x="54736" y="6350"/>
                  <a:pt x="114553" y="6350"/>
                </a:cubicBezTo>
                <a:cubicBezTo>
                  <a:pt x="114553" y="6350"/>
                  <a:pt x="114553" y="6350"/>
                  <a:pt x="114553" y="6350"/>
                </a:cubicBezTo>
                <a:lnTo>
                  <a:pt x="114553" y="6350"/>
                </a:lnTo>
                <a:lnTo>
                  <a:pt x="1914143" y="6350"/>
                </a:lnTo>
                <a:lnTo>
                  <a:pt x="1914143" y="6350"/>
                </a:lnTo>
                <a:cubicBezTo>
                  <a:pt x="1973960" y="6350"/>
                  <a:pt x="2022475" y="54736"/>
                  <a:pt x="2022475" y="114553"/>
                </a:cubicBezTo>
                <a:cubicBezTo>
                  <a:pt x="2022475" y="114553"/>
                  <a:pt x="2022475" y="114553"/>
                  <a:pt x="2022475" y="114553"/>
                </a:cubicBezTo>
                <a:lnTo>
                  <a:pt x="2022475" y="114553"/>
                </a:lnTo>
                <a:lnTo>
                  <a:pt x="2022475" y="547370"/>
                </a:lnTo>
                <a:lnTo>
                  <a:pt x="2022475" y="547370"/>
                </a:lnTo>
                <a:cubicBezTo>
                  <a:pt x="2022475" y="607186"/>
                  <a:pt x="1973960" y="655701"/>
                  <a:pt x="1914143" y="655701"/>
                </a:cubicBezTo>
                <a:cubicBezTo>
                  <a:pt x="1914143" y="655701"/>
                  <a:pt x="1914143" y="655701"/>
                  <a:pt x="1914143" y="655701"/>
                </a:cubicBezTo>
                <a:lnTo>
                  <a:pt x="1914143" y="655701"/>
                </a:lnTo>
                <a:lnTo>
                  <a:pt x="114553" y="655701"/>
                </a:lnTo>
                <a:lnTo>
                  <a:pt x="114553" y="655701"/>
                </a:lnTo>
                <a:cubicBezTo>
                  <a:pt x="54736" y="655701"/>
                  <a:pt x="6350" y="607186"/>
                  <a:pt x="6350" y="547370"/>
                </a:cubicBezTo>
                <a:cubicBezTo>
                  <a:pt x="6350" y="547370"/>
                  <a:pt x="6350" y="547370"/>
                  <a:pt x="6350" y="547370"/>
                </a:cubicBezTo>
                <a:lnTo>
                  <a:pt x="6350" y="114553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6" name="Freeform 3"/>
          <p:cNvSpPr/>
          <p:nvPr/>
        </p:nvSpPr>
        <p:spPr>
          <a:xfrm>
            <a:off x="4550793" y="4137067"/>
            <a:ext cx="2399052" cy="636424"/>
          </a:xfrm>
          <a:custGeom>
            <a:avLst/>
            <a:gdLst>
              <a:gd name="connsiteX0" fmla="*/ 0 w 2447925"/>
              <a:gd name="connsiteY0" fmla="*/ 108330 h 649351"/>
              <a:gd name="connsiteX1" fmla="*/ 108203 w 2447925"/>
              <a:gd name="connsiteY1" fmla="*/ 0 h 649351"/>
              <a:gd name="connsiteX2" fmla="*/ 108203 w 2447925"/>
              <a:gd name="connsiteY2" fmla="*/ 0 h 649351"/>
              <a:gd name="connsiteX3" fmla="*/ 108203 w 2447925"/>
              <a:gd name="connsiteY3" fmla="*/ 0 h 649351"/>
              <a:gd name="connsiteX4" fmla="*/ 2339593 w 2447925"/>
              <a:gd name="connsiteY4" fmla="*/ 0 h 649351"/>
              <a:gd name="connsiteX5" fmla="*/ 2339593 w 2447925"/>
              <a:gd name="connsiteY5" fmla="*/ 0 h 649351"/>
              <a:gd name="connsiteX6" fmla="*/ 2447797 w 2447925"/>
              <a:gd name="connsiteY6" fmla="*/ 108330 h 649351"/>
              <a:gd name="connsiteX7" fmla="*/ 2447797 w 2447925"/>
              <a:gd name="connsiteY7" fmla="*/ 108330 h 649351"/>
              <a:gd name="connsiteX8" fmla="*/ 2447925 w 2447925"/>
              <a:gd name="connsiteY8" fmla="*/ 108330 h 649351"/>
              <a:gd name="connsiteX9" fmla="*/ 2447925 w 2447925"/>
              <a:gd name="connsiteY9" fmla="*/ 541147 h 649351"/>
              <a:gd name="connsiteX10" fmla="*/ 2447925 w 2447925"/>
              <a:gd name="connsiteY10" fmla="*/ 541147 h 649351"/>
              <a:gd name="connsiteX11" fmla="*/ 2339593 w 2447925"/>
              <a:gd name="connsiteY11" fmla="*/ 649351 h 649351"/>
              <a:gd name="connsiteX12" fmla="*/ 2339593 w 2447925"/>
              <a:gd name="connsiteY12" fmla="*/ 649351 h 649351"/>
              <a:gd name="connsiteX13" fmla="*/ 2339593 w 2447925"/>
              <a:gd name="connsiteY13" fmla="*/ 649351 h 649351"/>
              <a:gd name="connsiteX14" fmla="*/ 108203 w 2447925"/>
              <a:gd name="connsiteY14" fmla="*/ 649351 h 649351"/>
              <a:gd name="connsiteX15" fmla="*/ 108203 w 2447925"/>
              <a:gd name="connsiteY15" fmla="*/ 649351 h 649351"/>
              <a:gd name="connsiteX16" fmla="*/ 0 w 2447925"/>
              <a:gd name="connsiteY16" fmla="*/ 541147 h 649351"/>
              <a:gd name="connsiteX17" fmla="*/ 0 w 2447925"/>
              <a:gd name="connsiteY17" fmla="*/ 541147 h 649351"/>
              <a:gd name="connsiteX18" fmla="*/ 0 w 2447925"/>
              <a:gd name="connsiteY18" fmla="*/ 108330 h 64935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2447925" h="649351">
                <a:moveTo>
                  <a:pt x="0" y="108330"/>
                </a:moveTo>
                <a:cubicBezTo>
                  <a:pt x="0" y="48514"/>
                  <a:pt x="48386" y="0"/>
                  <a:pt x="108203" y="0"/>
                </a:cubicBezTo>
                <a:cubicBezTo>
                  <a:pt x="108203" y="0"/>
                  <a:pt x="108203" y="0"/>
                  <a:pt x="108203" y="0"/>
                </a:cubicBezTo>
                <a:lnTo>
                  <a:pt x="108203" y="0"/>
                </a:lnTo>
                <a:lnTo>
                  <a:pt x="2339593" y="0"/>
                </a:lnTo>
                <a:lnTo>
                  <a:pt x="2339593" y="0"/>
                </a:lnTo>
                <a:cubicBezTo>
                  <a:pt x="2399410" y="0"/>
                  <a:pt x="2447925" y="48514"/>
                  <a:pt x="2447797" y="108330"/>
                </a:cubicBezTo>
                <a:cubicBezTo>
                  <a:pt x="2447797" y="108330"/>
                  <a:pt x="2447797" y="108330"/>
                  <a:pt x="2447797" y="108330"/>
                </a:cubicBezTo>
                <a:lnTo>
                  <a:pt x="2447925" y="108330"/>
                </a:lnTo>
                <a:lnTo>
                  <a:pt x="2447925" y="541147"/>
                </a:lnTo>
                <a:lnTo>
                  <a:pt x="2447925" y="541147"/>
                </a:lnTo>
                <a:cubicBezTo>
                  <a:pt x="2447925" y="600836"/>
                  <a:pt x="2399410" y="649351"/>
                  <a:pt x="2339593" y="649351"/>
                </a:cubicBezTo>
                <a:cubicBezTo>
                  <a:pt x="2339593" y="649351"/>
                  <a:pt x="2339593" y="649351"/>
                  <a:pt x="2339593" y="649351"/>
                </a:cubicBezTo>
                <a:lnTo>
                  <a:pt x="2339593" y="649351"/>
                </a:lnTo>
                <a:lnTo>
                  <a:pt x="108203" y="649351"/>
                </a:lnTo>
                <a:lnTo>
                  <a:pt x="108203" y="649351"/>
                </a:lnTo>
                <a:cubicBezTo>
                  <a:pt x="48386" y="649351"/>
                  <a:pt x="0" y="600836"/>
                  <a:pt x="0" y="541147"/>
                </a:cubicBezTo>
                <a:cubicBezTo>
                  <a:pt x="0" y="541147"/>
                  <a:pt x="0" y="541147"/>
                  <a:pt x="0" y="541147"/>
                </a:cubicBezTo>
                <a:lnTo>
                  <a:pt x="0" y="108330"/>
                </a:lnTo>
              </a:path>
            </a:pathLst>
          </a:custGeom>
          <a:solidFill>
            <a:srgbClr val="DEDED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7" name="Freeform 3"/>
          <p:cNvSpPr/>
          <p:nvPr/>
        </p:nvSpPr>
        <p:spPr>
          <a:xfrm>
            <a:off x="4544570" y="4130844"/>
            <a:ext cx="2411498" cy="648871"/>
          </a:xfrm>
          <a:custGeom>
            <a:avLst/>
            <a:gdLst>
              <a:gd name="connsiteX0" fmla="*/ 6350 w 2460625"/>
              <a:gd name="connsiteY0" fmla="*/ 114680 h 662051"/>
              <a:gd name="connsiteX1" fmla="*/ 114553 w 2460625"/>
              <a:gd name="connsiteY1" fmla="*/ 6350 h 662051"/>
              <a:gd name="connsiteX2" fmla="*/ 114553 w 2460625"/>
              <a:gd name="connsiteY2" fmla="*/ 6350 h 662051"/>
              <a:gd name="connsiteX3" fmla="*/ 114553 w 2460625"/>
              <a:gd name="connsiteY3" fmla="*/ 6350 h 662051"/>
              <a:gd name="connsiteX4" fmla="*/ 2345943 w 2460625"/>
              <a:gd name="connsiteY4" fmla="*/ 6350 h 662051"/>
              <a:gd name="connsiteX5" fmla="*/ 2345943 w 2460625"/>
              <a:gd name="connsiteY5" fmla="*/ 6350 h 662051"/>
              <a:gd name="connsiteX6" fmla="*/ 2454147 w 2460625"/>
              <a:gd name="connsiteY6" fmla="*/ 114680 h 662051"/>
              <a:gd name="connsiteX7" fmla="*/ 2454147 w 2460625"/>
              <a:gd name="connsiteY7" fmla="*/ 114680 h 662051"/>
              <a:gd name="connsiteX8" fmla="*/ 2454275 w 2460625"/>
              <a:gd name="connsiteY8" fmla="*/ 114680 h 662051"/>
              <a:gd name="connsiteX9" fmla="*/ 2454275 w 2460625"/>
              <a:gd name="connsiteY9" fmla="*/ 547497 h 662051"/>
              <a:gd name="connsiteX10" fmla="*/ 2454275 w 2460625"/>
              <a:gd name="connsiteY10" fmla="*/ 547497 h 662051"/>
              <a:gd name="connsiteX11" fmla="*/ 2345943 w 2460625"/>
              <a:gd name="connsiteY11" fmla="*/ 655701 h 662051"/>
              <a:gd name="connsiteX12" fmla="*/ 2345943 w 2460625"/>
              <a:gd name="connsiteY12" fmla="*/ 655701 h 662051"/>
              <a:gd name="connsiteX13" fmla="*/ 2345943 w 2460625"/>
              <a:gd name="connsiteY13" fmla="*/ 655701 h 662051"/>
              <a:gd name="connsiteX14" fmla="*/ 114553 w 2460625"/>
              <a:gd name="connsiteY14" fmla="*/ 655701 h 662051"/>
              <a:gd name="connsiteX15" fmla="*/ 114553 w 2460625"/>
              <a:gd name="connsiteY15" fmla="*/ 655701 h 662051"/>
              <a:gd name="connsiteX16" fmla="*/ 6350 w 2460625"/>
              <a:gd name="connsiteY16" fmla="*/ 547497 h 662051"/>
              <a:gd name="connsiteX17" fmla="*/ 6350 w 2460625"/>
              <a:gd name="connsiteY17" fmla="*/ 547497 h 662051"/>
              <a:gd name="connsiteX18" fmla="*/ 6350 w 2460625"/>
              <a:gd name="connsiteY18" fmla="*/ 114680 h 66205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2460625" h="662051">
                <a:moveTo>
                  <a:pt x="6350" y="114680"/>
                </a:moveTo>
                <a:cubicBezTo>
                  <a:pt x="6350" y="54864"/>
                  <a:pt x="54736" y="6350"/>
                  <a:pt x="114553" y="6350"/>
                </a:cubicBezTo>
                <a:cubicBezTo>
                  <a:pt x="114553" y="6350"/>
                  <a:pt x="114553" y="6350"/>
                  <a:pt x="114553" y="6350"/>
                </a:cubicBezTo>
                <a:lnTo>
                  <a:pt x="114553" y="6350"/>
                </a:lnTo>
                <a:lnTo>
                  <a:pt x="2345943" y="6350"/>
                </a:lnTo>
                <a:lnTo>
                  <a:pt x="2345943" y="6350"/>
                </a:lnTo>
                <a:cubicBezTo>
                  <a:pt x="2405760" y="6350"/>
                  <a:pt x="2454275" y="54864"/>
                  <a:pt x="2454147" y="114680"/>
                </a:cubicBezTo>
                <a:cubicBezTo>
                  <a:pt x="2454147" y="114680"/>
                  <a:pt x="2454147" y="114680"/>
                  <a:pt x="2454147" y="114680"/>
                </a:cubicBezTo>
                <a:lnTo>
                  <a:pt x="2454275" y="114680"/>
                </a:lnTo>
                <a:lnTo>
                  <a:pt x="2454275" y="547497"/>
                </a:lnTo>
                <a:lnTo>
                  <a:pt x="2454275" y="547497"/>
                </a:lnTo>
                <a:cubicBezTo>
                  <a:pt x="2454275" y="607186"/>
                  <a:pt x="2405760" y="655701"/>
                  <a:pt x="2345943" y="655701"/>
                </a:cubicBezTo>
                <a:cubicBezTo>
                  <a:pt x="2345943" y="655701"/>
                  <a:pt x="2345943" y="655701"/>
                  <a:pt x="2345943" y="655701"/>
                </a:cubicBezTo>
                <a:lnTo>
                  <a:pt x="2345943" y="655701"/>
                </a:lnTo>
                <a:lnTo>
                  <a:pt x="114553" y="655701"/>
                </a:lnTo>
                <a:lnTo>
                  <a:pt x="114553" y="655701"/>
                </a:lnTo>
                <a:cubicBezTo>
                  <a:pt x="54736" y="655701"/>
                  <a:pt x="6350" y="607186"/>
                  <a:pt x="6350" y="547497"/>
                </a:cubicBezTo>
                <a:cubicBezTo>
                  <a:pt x="6350" y="547497"/>
                  <a:pt x="6350" y="547497"/>
                  <a:pt x="6350" y="547497"/>
                </a:cubicBezTo>
                <a:lnTo>
                  <a:pt x="6350" y="11468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8" name="Freeform 3"/>
          <p:cNvSpPr/>
          <p:nvPr/>
        </p:nvSpPr>
        <p:spPr>
          <a:xfrm>
            <a:off x="4550793" y="5055047"/>
            <a:ext cx="2823723" cy="636424"/>
          </a:xfrm>
          <a:custGeom>
            <a:avLst/>
            <a:gdLst>
              <a:gd name="connsiteX0" fmla="*/ 0 w 2881248"/>
              <a:gd name="connsiteY0" fmla="*/ 108330 h 649351"/>
              <a:gd name="connsiteX1" fmla="*/ 108203 w 2881248"/>
              <a:gd name="connsiteY1" fmla="*/ 0 h 649351"/>
              <a:gd name="connsiteX2" fmla="*/ 108203 w 2881248"/>
              <a:gd name="connsiteY2" fmla="*/ 0 h 649351"/>
              <a:gd name="connsiteX3" fmla="*/ 108203 w 2881248"/>
              <a:gd name="connsiteY3" fmla="*/ 0 h 649351"/>
              <a:gd name="connsiteX4" fmla="*/ 2773044 w 2881248"/>
              <a:gd name="connsiteY4" fmla="*/ 0 h 649351"/>
              <a:gd name="connsiteX5" fmla="*/ 2773044 w 2881248"/>
              <a:gd name="connsiteY5" fmla="*/ 0 h 649351"/>
              <a:gd name="connsiteX6" fmla="*/ 2881248 w 2881248"/>
              <a:gd name="connsiteY6" fmla="*/ 108330 h 649351"/>
              <a:gd name="connsiteX7" fmla="*/ 2881248 w 2881248"/>
              <a:gd name="connsiteY7" fmla="*/ 108330 h 649351"/>
              <a:gd name="connsiteX8" fmla="*/ 2881248 w 2881248"/>
              <a:gd name="connsiteY8" fmla="*/ 108330 h 649351"/>
              <a:gd name="connsiteX9" fmla="*/ 2881248 w 2881248"/>
              <a:gd name="connsiteY9" fmla="*/ 541134 h 649351"/>
              <a:gd name="connsiteX10" fmla="*/ 2881248 w 2881248"/>
              <a:gd name="connsiteY10" fmla="*/ 541134 h 649351"/>
              <a:gd name="connsiteX11" fmla="*/ 2773044 w 2881248"/>
              <a:gd name="connsiteY11" fmla="*/ 649351 h 649351"/>
              <a:gd name="connsiteX12" fmla="*/ 2773044 w 2881248"/>
              <a:gd name="connsiteY12" fmla="*/ 649351 h 649351"/>
              <a:gd name="connsiteX13" fmla="*/ 2773044 w 2881248"/>
              <a:gd name="connsiteY13" fmla="*/ 649351 h 649351"/>
              <a:gd name="connsiteX14" fmla="*/ 108203 w 2881248"/>
              <a:gd name="connsiteY14" fmla="*/ 649351 h 649351"/>
              <a:gd name="connsiteX15" fmla="*/ 108203 w 2881248"/>
              <a:gd name="connsiteY15" fmla="*/ 649351 h 649351"/>
              <a:gd name="connsiteX16" fmla="*/ 0 w 2881248"/>
              <a:gd name="connsiteY16" fmla="*/ 541134 h 649351"/>
              <a:gd name="connsiteX17" fmla="*/ 0 w 2881248"/>
              <a:gd name="connsiteY17" fmla="*/ 541134 h 649351"/>
              <a:gd name="connsiteX18" fmla="*/ 0 w 2881248"/>
              <a:gd name="connsiteY18" fmla="*/ 108330 h 64935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2881248" h="649351">
                <a:moveTo>
                  <a:pt x="0" y="108330"/>
                </a:moveTo>
                <a:cubicBezTo>
                  <a:pt x="0" y="48514"/>
                  <a:pt x="48386" y="0"/>
                  <a:pt x="108203" y="0"/>
                </a:cubicBezTo>
                <a:cubicBezTo>
                  <a:pt x="108203" y="0"/>
                  <a:pt x="108203" y="0"/>
                  <a:pt x="108203" y="0"/>
                </a:cubicBezTo>
                <a:lnTo>
                  <a:pt x="108203" y="0"/>
                </a:lnTo>
                <a:lnTo>
                  <a:pt x="2773044" y="0"/>
                </a:lnTo>
                <a:lnTo>
                  <a:pt x="2773044" y="0"/>
                </a:lnTo>
                <a:cubicBezTo>
                  <a:pt x="2832734" y="0"/>
                  <a:pt x="2881248" y="48514"/>
                  <a:pt x="2881248" y="108330"/>
                </a:cubicBezTo>
                <a:cubicBezTo>
                  <a:pt x="2881248" y="108330"/>
                  <a:pt x="2881248" y="108330"/>
                  <a:pt x="2881248" y="108330"/>
                </a:cubicBezTo>
                <a:lnTo>
                  <a:pt x="2881248" y="108330"/>
                </a:lnTo>
                <a:lnTo>
                  <a:pt x="2881248" y="541134"/>
                </a:lnTo>
                <a:lnTo>
                  <a:pt x="2881248" y="541134"/>
                </a:lnTo>
                <a:cubicBezTo>
                  <a:pt x="2881248" y="600900"/>
                  <a:pt x="2832734" y="649351"/>
                  <a:pt x="2773044" y="649351"/>
                </a:cubicBezTo>
                <a:cubicBezTo>
                  <a:pt x="2773044" y="649351"/>
                  <a:pt x="2773044" y="649351"/>
                  <a:pt x="2773044" y="649351"/>
                </a:cubicBezTo>
                <a:lnTo>
                  <a:pt x="2773044" y="649351"/>
                </a:lnTo>
                <a:lnTo>
                  <a:pt x="108203" y="649351"/>
                </a:lnTo>
                <a:lnTo>
                  <a:pt x="108203" y="649351"/>
                </a:lnTo>
                <a:cubicBezTo>
                  <a:pt x="48386" y="649351"/>
                  <a:pt x="0" y="600900"/>
                  <a:pt x="0" y="541134"/>
                </a:cubicBezTo>
                <a:cubicBezTo>
                  <a:pt x="0" y="541134"/>
                  <a:pt x="0" y="541134"/>
                  <a:pt x="0" y="541134"/>
                </a:cubicBezTo>
                <a:lnTo>
                  <a:pt x="0" y="108330"/>
                </a:lnTo>
              </a:path>
            </a:pathLst>
          </a:custGeom>
          <a:solidFill>
            <a:srgbClr val="DEDEDE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9" name="Freeform 3"/>
          <p:cNvSpPr/>
          <p:nvPr/>
        </p:nvSpPr>
        <p:spPr>
          <a:xfrm>
            <a:off x="4544569" y="5048823"/>
            <a:ext cx="2836170" cy="648871"/>
          </a:xfrm>
          <a:custGeom>
            <a:avLst/>
            <a:gdLst>
              <a:gd name="connsiteX0" fmla="*/ 6350 w 2893948"/>
              <a:gd name="connsiteY0" fmla="*/ 114680 h 662051"/>
              <a:gd name="connsiteX1" fmla="*/ 114553 w 2893948"/>
              <a:gd name="connsiteY1" fmla="*/ 6350 h 662051"/>
              <a:gd name="connsiteX2" fmla="*/ 114553 w 2893948"/>
              <a:gd name="connsiteY2" fmla="*/ 6350 h 662051"/>
              <a:gd name="connsiteX3" fmla="*/ 114553 w 2893948"/>
              <a:gd name="connsiteY3" fmla="*/ 6350 h 662051"/>
              <a:gd name="connsiteX4" fmla="*/ 2779394 w 2893948"/>
              <a:gd name="connsiteY4" fmla="*/ 6350 h 662051"/>
              <a:gd name="connsiteX5" fmla="*/ 2779394 w 2893948"/>
              <a:gd name="connsiteY5" fmla="*/ 6350 h 662051"/>
              <a:gd name="connsiteX6" fmla="*/ 2887598 w 2893948"/>
              <a:gd name="connsiteY6" fmla="*/ 114680 h 662051"/>
              <a:gd name="connsiteX7" fmla="*/ 2887598 w 2893948"/>
              <a:gd name="connsiteY7" fmla="*/ 114680 h 662051"/>
              <a:gd name="connsiteX8" fmla="*/ 2887598 w 2893948"/>
              <a:gd name="connsiteY8" fmla="*/ 114680 h 662051"/>
              <a:gd name="connsiteX9" fmla="*/ 2887598 w 2893948"/>
              <a:gd name="connsiteY9" fmla="*/ 547484 h 662051"/>
              <a:gd name="connsiteX10" fmla="*/ 2887598 w 2893948"/>
              <a:gd name="connsiteY10" fmla="*/ 547484 h 662051"/>
              <a:gd name="connsiteX11" fmla="*/ 2779394 w 2893948"/>
              <a:gd name="connsiteY11" fmla="*/ 655701 h 662051"/>
              <a:gd name="connsiteX12" fmla="*/ 2779394 w 2893948"/>
              <a:gd name="connsiteY12" fmla="*/ 655701 h 662051"/>
              <a:gd name="connsiteX13" fmla="*/ 2779394 w 2893948"/>
              <a:gd name="connsiteY13" fmla="*/ 655701 h 662051"/>
              <a:gd name="connsiteX14" fmla="*/ 114553 w 2893948"/>
              <a:gd name="connsiteY14" fmla="*/ 655701 h 662051"/>
              <a:gd name="connsiteX15" fmla="*/ 114553 w 2893948"/>
              <a:gd name="connsiteY15" fmla="*/ 655701 h 662051"/>
              <a:gd name="connsiteX16" fmla="*/ 6350 w 2893948"/>
              <a:gd name="connsiteY16" fmla="*/ 547484 h 662051"/>
              <a:gd name="connsiteX17" fmla="*/ 6350 w 2893948"/>
              <a:gd name="connsiteY17" fmla="*/ 547484 h 662051"/>
              <a:gd name="connsiteX18" fmla="*/ 6350 w 2893948"/>
              <a:gd name="connsiteY18" fmla="*/ 114680 h 66205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2893948" h="662051">
                <a:moveTo>
                  <a:pt x="6350" y="114680"/>
                </a:moveTo>
                <a:cubicBezTo>
                  <a:pt x="6350" y="54864"/>
                  <a:pt x="54736" y="6350"/>
                  <a:pt x="114553" y="6350"/>
                </a:cubicBezTo>
                <a:cubicBezTo>
                  <a:pt x="114553" y="6350"/>
                  <a:pt x="114553" y="6350"/>
                  <a:pt x="114553" y="6350"/>
                </a:cubicBezTo>
                <a:lnTo>
                  <a:pt x="114553" y="6350"/>
                </a:lnTo>
                <a:lnTo>
                  <a:pt x="2779394" y="6350"/>
                </a:lnTo>
                <a:lnTo>
                  <a:pt x="2779394" y="6350"/>
                </a:lnTo>
                <a:cubicBezTo>
                  <a:pt x="2839084" y="6350"/>
                  <a:pt x="2887598" y="54864"/>
                  <a:pt x="2887598" y="114680"/>
                </a:cubicBezTo>
                <a:cubicBezTo>
                  <a:pt x="2887598" y="114680"/>
                  <a:pt x="2887598" y="114680"/>
                  <a:pt x="2887598" y="114680"/>
                </a:cubicBezTo>
                <a:lnTo>
                  <a:pt x="2887598" y="114680"/>
                </a:lnTo>
                <a:lnTo>
                  <a:pt x="2887598" y="547484"/>
                </a:lnTo>
                <a:lnTo>
                  <a:pt x="2887598" y="547484"/>
                </a:lnTo>
                <a:cubicBezTo>
                  <a:pt x="2887598" y="607250"/>
                  <a:pt x="2839084" y="655701"/>
                  <a:pt x="2779394" y="655701"/>
                </a:cubicBezTo>
                <a:cubicBezTo>
                  <a:pt x="2779394" y="655701"/>
                  <a:pt x="2779394" y="655701"/>
                  <a:pt x="2779394" y="655701"/>
                </a:cubicBezTo>
                <a:lnTo>
                  <a:pt x="2779394" y="655701"/>
                </a:lnTo>
                <a:lnTo>
                  <a:pt x="114553" y="655701"/>
                </a:lnTo>
                <a:lnTo>
                  <a:pt x="114553" y="655701"/>
                </a:lnTo>
                <a:cubicBezTo>
                  <a:pt x="54736" y="655701"/>
                  <a:pt x="6350" y="607250"/>
                  <a:pt x="6350" y="547484"/>
                </a:cubicBezTo>
                <a:cubicBezTo>
                  <a:pt x="6350" y="547484"/>
                  <a:pt x="6350" y="547484"/>
                  <a:pt x="6350" y="547484"/>
                </a:cubicBezTo>
                <a:lnTo>
                  <a:pt x="6350" y="11468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30" name="Freeform 3"/>
          <p:cNvSpPr/>
          <p:nvPr/>
        </p:nvSpPr>
        <p:spPr>
          <a:xfrm>
            <a:off x="5398644" y="2865963"/>
            <a:ext cx="283157" cy="283173"/>
          </a:xfrm>
          <a:custGeom>
            <a:avLst/>
            <a:gdLst>
              <a:gd name="connsiteX0" fmla="*/ 0 w 288925"/>
              <a:gd name="connsiteY0" fmla="*/ 167385 h 288925"/>
              <a:gd name="connsiteX1" fmla="*/ 73533 w 288925"/>
              <a:gd name="connsiteY1" fmla="*/ 167385 h 288925"/>
              <a:gd name="connsiteX2" fmla="*/ 73533 w 288925"/>
              <a:gd name="connsiteY2" fmla="*/ 0 h 288925"/>
              <a:gd name="connsiteX3" fmla="*/ 215391 w 288925"/>
              <a:gd name="connsiteY3" fmla="*/ 0 h 288925"/>
              <a:gd name="connsiteX4" fmla="*/ 215391 w 288925"/>
              <a:gd name="connsiteY4" fmla="*/ 167385 h 288925"/>
              <a:gd name="connsiteX5" fmla="*/ 288925 w 288925"/>
              <a:gd name="connsiteY5" fmla="*/ 167385 h 288925"/>
              <a:gd name="connsiteX6" fmla="*/ 144526 w 288925"/>
              <a:gd name="connsiteY6" fmla="*/ 288925 h 288925"/>
              <a:gd name="connsiteX7" fmla="*/ 0 w 288925"/>
              <a:gd name="connsiteY7" fmla="*/ 167385 h 28892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288925" h="288925">
                <a:moveTo>
                  <a:pt x="0" y="167385"/>
                </a:moveTo>
                <a:lnTo>
                  <a:pt x="73533" y="167385"/>
                </a:lnTo>
                <a:lnTo>
                  <a:pt x="73533" y="0"/>
                </a:lnTo>
                <a:lnTo>
                  <a:pt x="215391" y="0"/>
                </a:lnTo>
                <a:lnTo>
                  <a:pt x="215391" y="167385"/>
                </a:lnTo>
                <a:lnTo>
                  <a:pt x="288925" y="167385"/>
                </a:lnTo>
                <a:lnTo>
                  <a:pt x="144526" y="288925"/>
                </a:lnTo>
                <a:lnTo>
                  <a:pt x="0" y="167385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31" name="Freeform 3"/>
          <p:cNvSpPr/>
          <p:nvPr/>
        </p:nvSpPr>
        <p:spPr>
          <a:xfrm>
            <a:off x="5392421" y="2859739"/>
            <a:ext cx="295603" cy="295620"/>
          </a:xfrm>
          <a:custGeom>
            <a:avLst/>
            <a:gdLst>
              <a:gd name="connsiteX0" fmla="*/ 6350 w 301625"/>
              <a:gd name="connsiteY0" fmla="*/ 173735 h 301625"/>
              <a:gd name="connsiteX1" fmla="*/ 79883 w 301625"/>
              <a:gd name="connsiteY1" fmla="*/ 173735 h 301625"/>
              <a:gd name="connsiteX2" fmla="*/ 79883 w 301625"/>
              <a:gd name="connsiteY2" fmla="*/ 6350 h 301625"/>
              <a:gd name="connsiteX3" fmla="*/ 221741 w 301625"/>
              <a:gd name="connsiteY3" fmla="*/ 6350 h 301625"/>
              <a:gd name="connsiteX4" fmla="*/ 221741 w 301625"/>
              <a:gd name="connsiteY4" fmla="*/ 173735 h 301625"/>
              <a:gd name="connsiteX5" fmla="*/ 295275 w 301625"/>
              <a:gd name="connsiteY5" fmla="*/ 173735 h 301625"/>
              <a:gd name="connsiteX6" fmla="*/ 150876 w 301625"/>
              <a:gd name="connsiteY6" fmla="*/ 295275 h 301625"/>
              <a:gd name="connsiteX7" fmla="*/ 6350 w 301625"/>
              <a:gd name="connsiteY7" fmla="*/ 173735 h 30162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301625" h="301625">
                <a:moveTo>
                  <a:pt x="6350" y="173735"/>
                </a:moveTo>
                <a:lnTo>
                  <a:pt x="79883" y="173735"/>
                </a:lnTo>
                <a:lnTo>
                  <a:pt x="79883" y="6350"/>
                </a:lnTo>
                <a:lnTo>
                  <a:pt x="221741" y="6350"/>
                </a:lnTo>
                <a:lnTo>
                  <a:pt x="221741" y="173735"/>
                </a:lnTo>
                <a:lnTo>
                  <a:pt x="295275" y="173735"/>
                </a:lnTo>
                <a:lnTo>
                  <a:pt x="150876" y="295275"/>
                </a:lnTo>
                <a:lnTo>
                  <a:pt x="6350" y="173735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24" name="Freeform 3"/>
          <p:cNvSpPr/>
          <p:nvPr/>
        </p:nvSpPr>
        <p:spPr>
          <a:xfrm>
            <a:off x="7091360" y="2865962"/>
            <a:ext cx="211590" cy="2189084"/>
          </a:xfrm>
          <a:custGeom>
            <a:avLst/>
            <a:gdLst>
              <a:gd name="connsiteX0" fmla="*/ 0 w 215900"/>
              <a:gd name="connsiteY0" fmla="*/ 1294129 h 2233548"/>
              <a:gd name="connsiteX1" fmla="*/ 54991 w 215900"/>
              <a:gd name="connsiteY1" fmla="*/ 1294129 h 2233548"/>
              <a:gd name="connsiteX2" fmla="*/ 54991 w 215900"/>
              <a:gd name="connsiteY2" fmla="*/ 0 h 2233548"/>
              <a:gd name="connsiteX3" fmla="*/ 160908 w 215900"/>
              <a:gd name="connsiteY3" fmla="*/ 0 h 2233548"/>
              <a:gd name="connsiteX4" fmla="*/ 160908 w 215900"/>
              <a:gd name="connsiteY4" fmla="*/ 1294129 h 2233548"/>
              <a:gd name="connsiteX5" fmla="*/ 215900 w 215900"/>
              <a:gd name="connsiteY5" fmla="*/ 1294129 h 2233548"/>
              <a:gd name="connsiteX6" fmla="*/ 107950 w 215900"/>
              <a:gd name="connsiteY6" fmla="*/ 2233548 h 2233548"/>
              <a:gd name="connsiteX7" fmla="*/ 0 w 215900"/>
              <a:gd name="connsiteY7" fmla="*/ 1294129 h 223354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215900" h="2233548">
                <a:moveTo>
                  <a:pt x="0" y="1294129"/>
                </a:moveTo>
                <a:lnTo>
                  <a:pt x="54991" y="1294129"/>
                </a:lnTo>
                <a:lnTo>
                  <a:pt x="54991" y="0"/>
                </a:lnTo>
                <a:lnTo>
                  <a:pt x="160908" y="0"/>
                </a:lnTo>
                <a:lnTo>
                  <a:pt x="160908" y="1294129"/>
                </a:lnTo>
                <a:lnTo>
                  <a:pt x="215900" y="1294129"/>
                </a:lnTo>
                <a:lnTo>
                  <a:pt x="107950" y="2233548"/>
                </a:lnTo>
                <a:lnTo>
                  <a:pt x="0" y="1294129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25" name="Freeform 3"/>
          <p:cNvSpPr/>
          <p:nvPr/>
        </p:nvSpPr>
        <p:spPr>
          <a:xfrm>
            <a:off x="7085137" y="2859739"/>
            <a:ext cx="224036" cy="2201531"/>
          </a:xfrm>
          <a:custGeom>
            <a:avLst/>
            <a:gdLst>
              <a:gd name="connsiteX0" fmla="*/ 6350 w 228600"/>
              <a:gd name="connsiteY0" fmla="*/ 1300479 h 2246248"/>
              <a:gd name="connsiteX1" fmla="*/ 61341 w 228600"/>
              <a:gd name="connsiteY1" fmla="*/ 1300479 h 2246248"/>
              <a:gd name="connsiteX2" fmla="*/ 61341 w 228600"/>
              <a:gd name="connsiteY2" fmla="*/ 6350 h 2246248"/>
              <a:gd name="connsiteX3" fmla="*/ 167258 w 228600"/>
              <a:gd name="connsiteY3" fmla="*/ 6350 h 2246248"/>
              <a:gd name="connsiteX4" fmla="*/ 167258 w 228600"/>
              <a:gd name="connsiteY4" fmla="*/ 1300479 h 2246248"/>
              <a:gd name="connsiteX5" fmla="*/ 222250 w 228600"/>
              <a:gd name="connsiteY5" fmla="*/ 1300479 h 2246248"/>
              <a:gd name="connsiteX6" fmla="*/ 114300 w 228600"/>
              <a:gd name="connsiteY6" fmla="*/ 2239898 h 2246248"/>
              <a:gd name="connsiteX7" fmla="*/ 6350 w 228600"/>
              <a:gd name="connsiteY7" fmla="*/ 1300479 h 224624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228600" h="2246248">
                <a:moveTo>
                  <a:pt x="6350" y="1300479"/>
                </a:moveTo>
                <a:lnTo>
                  <a:pt x="61341" y="1300479"/>
                </a:lnTo>
                <a:lnTo>
                  <a:pt x="61341" y="6350"/>
                </a:lnTo>
                <a:lnTo>
                  <a:pt x="167258" y="6350"/>
                </a:lnTo>
                <a:lnTo>
                  <a:pt x="167258" y="1300479"/>
                </a:lnTo>
                <a:lnTo>
                  <a:pt x="222250" y="1300479"/>
                </a:lnTo>
                <a:lnTo>
                  <a:pt x="114300" y="2239898"/>
                </a:lnTo>
                <a:lnTo>
                  <a:pt x="6350" y="1300479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26" name="Freeform 3"/>
          <p:cNvSpPr/>
          <p:nvPr/>
        </p:nvSpPr>
        <p:spPr>
          <a:xfrm>
            <a:off x="6668181" y="2865962"/>
            <a:ext cx="211590" cy="1271106"/>
          </a:xfrm>
          <a:custGeom>
            <a:avLst/>
            <a:gdLst>
              <a:gd name="connsiteX0" fmla="*/ 0 w 215900"/>
              <a:gd name="connsiteY0" fmla="*/ 751459 h 1296924"/>
              <a:gd name="connsiteX1" fmla="*/ 54991 w 215900"/>
              <a:gd name="connsiteY1" fmla="*/ 751459 h 1296924"/>
              <a:gd name="connsiteX2" fmla="*/ 54991 w 215900"/>
              <a:gd name="connsiteY2" fmla="*/ 0 h 1296924"/>
              <a:gd name="connsiteX3" fmla="*/ 160908 w 215900"/>
              <a:gd name="connsiteY3" fmla="*/ 0 h 1296924"/>
              <a:gd name="connsiteX4" fmla="*/ 160908 w 215900"/>
              <a:gd name="connsiteY4" fmla="*/ 751459 h 1296924"/>
              <a:gd name="connsiteX5" fmla="*/ 215900 w 215900"/>
              <a:gd name="connsiteY5" fmla="*/ 751459 h 1296924"/>
              <a:gd name="connsiteX6" fmla="*/ 107950 w 215900"/>
              <a:gd name="connsiteY6" fmla="*/ 1296923 h 1296924"/>
              <a:gd name="connsiteX7" fmla="*/ 0 w 215900"/>
              <a:gd name="connsiteY7" fmla="*/ 751459 h 129692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215900" h="1296924">
                <a:moveTo>
                  <a:pt x="0" y="751459"/>
                </a:moveTo>
                <a:lnTo>
                  <a:pt x="54991" y="751459"/>
                </a:lnTo>
                <a:lnTo>
                  <a:pt x="54991" y="0"/>
                </a:lnTo>
                <a:lnTo>
                  <a:pt x="160908" y="0"/>
                </a:lnTo>
                <a:lnTo>
                  <a:pt x="160908" y="751459"/>
                </a:lnTo>
                <a:lnTo>
                  <a:pt x="215900" y="751459"/>
                </a:lnTo>
                <a:lnTo>
                  <a:pt x="107950" y="1296923"/>
                </a:lnTo>
                <a:lnTo>
                  <a:pt x="0" y="751459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28" name="Freeform 3"/>
          <p:cNvSpPr/>
          <p:nvPr/>
        </p:nvSpPr>
        <p:spPr>
          <a:xfrm>
            <a:off x="6661958" y="2859739"/>
            <a:ext cx="224036" cy="1283553"/>
          </a:xfrm>
          <a:custGeom>
            <a:avLst/>
            <a:gdLst>
              <a:gd name="connsiteX0" fmla="*/ 6350 w 228600"/>
              <a:gd name="connsiteY0" fmla="*/ 757809 h 1309624"/>
              <a:gd name="connsiteX1" fmla="*/ 61341 w 228600"/>
              <a:gd name="connsiteY1" fmla="*/ 757809 h 1309624"/>
              <a:gd name="connsiteX2" fmla="*/ 61341 w 228600"/>
              <a:gd name="connsiteY2" fmla="*/ 6350 h 1309624"/>
              <a:gd name="connsiteX3" fmla="*/ 167258 w 228600"/>
              <a:gd name="connsiteY3" fmla="*/ 6350 h 1309624"/>
              <a:gd name="connsiteX4" fmla="*/ 167258 w 228600"/>
              <a:gd name="connsiteY4" fmla="*/ 757809 h 1309624"/>
              <a:gd name="connsiteX5" fmla="*/ 222250 w 228600"/>
              <a:gd name="connsiteY5" fmla="*/ 757809 h 1309624"/>
              <a:gd name="connsiteX6" fmla="*/ 114300 w 228600"/>
              <a:gd name="connsiteY6" fmla="*/ 1303273 h 1309624"/>
              <a:gd name="connsiteX7" fmla="*/ 6350 w 228600"/>
              <a:gd name="connsiteY7" fmla="*/ 757809 h 130962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228600" h="1309624">
                <a:moveTo>
                  <a:pt x="6350" y="757809"/>
                </a:moveTo>
                <a:lnTo>
                  <a:pt x="61341" y="757809"/>
                </a:lnTo>
                <a:lnTo>
                  <a:pt x="61341" y="6350"/>
                </a:lnTo>
                <a:lnTo>
                  <a:pt x="167258" y="6350"/>
                </a:lnTo>
                <a:lnTo>
                  <a:pt x="167258" y="757809"/>
                </a:lnTo>
                <a:lnTo>
                  <a:pt x="222250" y="757809"/>
                </a:lnTo>
                <a:lnTo>
                  <a:pt x="114300" y="1303273"/>
                </a:lnTo>
                <a:lnTo>
                  <a:pt x="6350" y="757809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29" name="Freeform 3"/>
          <p:cNvSpPr/>
          <p:nvPr/>
        </p:nvSpPr>
        <p:spPr>
          <a:xfrm>
            <a:off x="5398644" y="1526396"/>
            <a:ext cx="210096" cy="198159"/>
          </a:xfrm>
          <a:custGeom>
            <a:avLst/>
            <a:gdLst>
              <a:gd name="connsiteX0" fmla="*/ 214376 w 214376"/>
              <a:gd name="connsiteY0" fmla="*/ 0 h 202184"/>
              <a:gd name="connsiteX1" fmla="*/ 214376 w 214376"/>
              <a:gd name="connsiteY1" fmla="*/ 123571 h 202184"/>
              <a:gd name="connsiteX2" fmla="*/ 107188 w 214376"/>
              <a:gd name="connsiteY2" fmla="*/ 202184 h 202184"/>
              <a:gd name="connsiteX3" fmla="*/ 0 w 214376"/>
              <a:gd name="connsiteY3" fmla="*/ 123571 h 202184"/>
              <a:gd name="connsiteX4" fmla="*/ 0 w 214376"/>
              <a:gd name="connsiteY4" fmla="*/ 0 h 202184"/>
              <a:gd name="connsiteX5" fmla="*/ 107188 w 214376"/>
              <a:gd name="connsiteY5" fmla="*/ 78613 h 202184"/>
              <a:gd name="connsiteX6" fmla="*/ 214376 w 214376"/>
              <a:gd name="connsiteY6" fmla="*/ 0 h 20218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14376" h="202184">
                <a:moveTo>
                  <a:pt x="214376" y="0"/>
                </a:moveTo>
                <a:lnTo>
                  <a:pt x="214376" y="123571"/>
                </a:lnTo>
                <a:lnTo>
                  <a:pt x="107188" y="202184"/>
                </a:lnTo>
                <a:lnTo>
                  <a:pt x="0" y="123571"/>
                </a:lnTo>
                <a:lnTo>
                  <a:pt x="0" y="0"/>
                </a:lnTo>
                <a:lnTo>
                  <a:pt x="107188" y="78613"/>
                </a:lnTo>
                <a:lnTo>
                  <a:pt x="214376" y="0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0" name="Freeform 3"/>
          <p:cNvSpPr/>
          <p:nvPr/>
        </p:nvSpPr>
        <p:spPr>
          <a:xfrm>
            <a:off x="5392421" y="1520173"/>
            <a:ext cx="222542" cy="210606"/>
          </a:xfrm>
          <a:custGeom>
            <a:avLst/>
            <a:gdLst>
              <a:gd name="connsiteX0" fmla="*/ 220726 w 227076"/>
              <a:gd name="connsiteY0" fmla="*/ 6350 h 214884"/>
              <a:gd name="connsiteX1" fmla="*/ 220726 w 227076"/>
              <a:gd name="connsiteY1" fmla="*/ 129921 h 214884"/>
              <a:gd name="connsiteX2" fmla="*/ 113538 w 227076"/>
              <a:gd name="connsiteY2" fmla="*/ 208534 h 214884"/>
              <a:gd name="connsiteX3" fmla="*/ 6350 w 227076"/>
              <a:gd name="connsiteY3" fmla="*/ 129921 h 214884"/>
              <a:gd name="connsiteX4" fmla="*/ 6350 w 227076"/>
              <a:gd name="connsiteY4" fmla="*/ 6350 h 214884"/>
              <a:gd name="connsiteX5" fmla="*/ 113538 w 227076"/>
              <a:gd name="connsiteY5" fmla="*/ 84963 h 214884"/>
              <a:gd name="connsiteX6" fmla="*/ 220726 w 227076"/>
              <a:gd name="connsiteY6" fmla="*/ 6350 h 21488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27076" h="214884">
                <a:moveTo>
                  <a:pt x="220726" y="6350"/>
                </a:moveTo>
                <a:lnTo>
                  <a:pt x="220726" y="129921"/>
                </a:lnTo>
                <a:lnTo>
                  <a:pt x="113538" y="208534"/>
                </a:lnTo>
                <a:lnTo>
                  <a:pt x="6350" y="129921"/>
                </a:lnTo>
                <a:lnTo>
                  <a:pt x="6350" y="6350"/>
                </a:lnTo>
                <a:lnTo>
                  <a:pt x="113538" y="84963"/>
                </a:lnTo>
                <a:lnTo>
                  <a:pt x="220726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1" name="Freeform 3"/>
          <p:cNvSpPr/>
          <p:nvPr/>
        </p:nvSpPr>
        <p:spPr>
          <a:xfrm>
            <a:off x="5398644" y="1894460"/>
            <a:ext cx="210096" cy="198158"/>
          </a:xfrm>
          <a:custGeom>
            <a:avLst/>
            <a:gdLst>
              <a:gd name="connsiteX0" fmla="*/ 214376 w 214376"/>
              <a:gd name="connsiteY0" fmla="*/ 0 h 202183"/>
              <a:gd name="connsiteX1" fmla="*/ 214376 w 214376"/>
              <a:gd name="connsiteY1" fmla="*/ 123570 h 202183"/>
              <a:gd name="connsiteX2" fmla="*/ 107188 w 214376"/>
              <a:gd name="connsiteY2" fmla="*/ 202183 h 202183"/>
              <a:gd name="connsiteX3" fmla="*/ 0 w 214376"/>
              <a:gd name="connsiteY3" fmla="*/ 123570 h 202183"/>
              <a:gd name="connsiteX4" fmla="*/ 0 w 214376"/>
              <a:gd name="connsiteY4" fmla="*/ 0 h 202183"/>
              <a:gd name="connsiteX5" fmla="*/ 107188 w 214376"/>
              <a:gd name="connsiteY5" fmla="*/ 78613 h 202183"/>
              <a:gd name="connsiteX6" fmla="*/ 214376 w 214376"/>
              <a:gd name="connsiteY6" fmla="*/ 0 h 20218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14376" h="202183">
                <a:moveTo>
                  <a:pt x="214376" y="0"/>
                </a:moveTo>
                <a:lnTo>
                  <a:pt x="214376" y="123570"/>
                </a:lnTo>
                <a:lnTo>
                  <a:pt x="107188" y="202183"/>
                </a:lnTo>
                <a:lnTo>
                  <a:pt x="0" y="123570"/>
                </a:lnTo>
                <a:lnTo>
                  <a:pt x="0" y="0"/>
                </a:lnTo>
                <a:lnTo>
                  <a:pt x="107188" y="78613"/>
                </a:lnTo>
                <a:lnTo>
                  <a:pt x="214376" y="0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2" name="Freeform 3"/>
          <p:cNvSpPr/>
          <p:nvPr/>
        </p:nvSpPr>
        <p:spPr>
          <a:xfrm>
            <a:off x="5392421" y="1888236"/>
            <a:ext cx="222542" cy="210605"/>
          </a:xfrm>
          <a:custGeom>
            <a:avLst/>
            <a:gdLst>
              <a:gd name="connsiteX0" fmla="*/ 220726 w 227076"/>
              <a:gd name="connsiteY0" fmla="*/ 6350 h 214883"/>
              <a:gd name="connsiteX1" fmla="*/ 220726 w 227076"/>
              <a:gd name="connsiteY1" fmla="*/ 129920 h 214883"/>
              <a:gd name="connsiteX2" fmla="*/ 113538 w 227076"/>
              <a:gd name="connsiteY2" fmla="*/ 208533 h 214883"/>
              <a:gd name="connsiteX3" fmla="*/ 6350 w 227076"/>
              <a:gd name="connsiteY3" fmla="*/ 129920 h 214883"/>
              <a:gd name="connsiteX4" fmla="*/ 6350 w 227076"/>
              <a:gd name="connsiteY4" fmla="*/ 6350 h 214883"/>
              <a:gd name="connsiteX5" fmla="*/ 113538 w 227076"/>
              <a:gd name="connsiteY5" fmla="*/ 84963 h 214883"/>
              <a:gd name="connsiteX6" fmla="*/ 220726 w 227076"/>
              <a:gd name="connsiteY6" fmla="*/ 6350 h 21488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27076" h="214883">
                <a:moveTo>
                  <a:pt x="220726" y="6350"/>
                </a:moveTo>
                <a:lnTo>
                  <a:pt x="220726" y="129920"/>
                </a:lnTo>
                <a:lnTo>
                  <a:pt x="113538" y="208533"/>
                </a:lnTo>
                <a:lnTo>
                  <a:pt x="6350" y="129920"/>
                </a:lnTo>
                <a:lnTo>
                  <a:pt x="6350" y="6350"/>
                </a:lnTo>
                <a:lnTo>
                  <a:pt x="113538" y="84963"/>
                </a:lnTo>
                <a:lnTo>
                  <a:pt x="220726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3" name="Freeform 3"/>
          <p:cNvSpPr/>
          <p:nvPr/>
        </p:nvSpPr>
        <p:spPr>
          <a:xfrm>
            <a:off x="5398644" y="1710490"/>
            <a:ext cx="210096" cy="198283"/>
          </a:xfrm>
          <a:custGeom>
            <a:avLst/>
            <a:gdLst>
              <a:gd name="connsiteX0" fmla="*/ 214376 w 214376"/>
              <a:gd name="connsiteY0" fmla="*/ 0 h 202310"/>
              <a:gd name="connsiteX1" fmla="*/ 214376 w 214376"/>
              <a:gd name="connsiteY1" fmla="*/ 123570 h 202310"/>
              <a:gd name="connsiteX2" fmla="*/ 107188 w 214376"/>
              <a:gd name="connsiteY2" fmla="*/ 202311 h 202310"/>
              <a:gd name="connsiteX3" fmla="*/ 0 w 214376"/>
              <a:gd name="connsiteY3" fmla="*/ 123570 h 202310"/>
              <a:gd name="connsiteX4" fmla="*/ 0 w 214376"/>
              <a:gd name="connsiteY4" fmla="*/ 0 h 202310"/>
              <a:gd name="connsiteX5" fmla="*/ 107188 w 214376"/>
              <a:gd name="connsiteY5" fmla="*/ 78739 h 202310"/>
              <a:gd name="connsiteX6" fmla="*/ 214376 w 214376"/>
              <a:gd name="connsiteY6" fmla="*/ 0 h 20231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14376" h="202310">
                <a:moveTo>
                  <a:pt x="214376" y="0"/>
                </a:moveTo>
                <a:lnTo>
                  <a:pt x="214376" y="123570"/>
                </a:lnTo>
                <a:lnTo>
                  <a:pt x="107188" y="202311"/>
                </a:lnTo>
                <a:lnTo>
                  <a:pt x="0" y="123570"/>
                </a:lnTo>
                <a:lnTo>
                  <a:pt x="0" y="0"/>
                </a:lnTo>
                <a:lnTo>
                  <a:pt x="107188" y="78739"/>
                </a:lnTo>
                <a:lnTo>
                  <a:pt x="214376" y="0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4" name="Freeform 3"/>
          <p:cNvSpPr/>
          <p:nvPr/>
        </p:nvSpPr>
        <p:spPr>
          <a:xfrm>
            <a:off x="5392421" y="1704266"/>
            <a:ext cx="222542" cy="210730"/>
          </a:xfrm>
          <a:custGeom>
            <a:avLst/>
            <a:gdLst>
              <a:gd name="connsiteX0" fmla="*/ 220726 w 227076"/>
              <a:gd name="connsiteY0" fmla="*/ 6350 h 215010"/>
              <a:gd name="connsiteX1" fmla="*/ 220726 w 227076"/>
              <a:gd name="connsiteY1" fmla="*/ 129920 h 215010"/>
              <a:gd name="connsiteX2" fmla="*/ 113538 w 227076"/>
              <a:gd name="connsiteY2" fmla="*/ 208661 h 215010"/>
              <a:gd name="connsiteX3" fmla="*/ 6350 w 227076"/>
              <a:gd name="connsiteY3" fmla="*/ 129920 h 215010"/>
              <a:gd name="connsiteX4" fmla="*/ 6350 w 227076"/>
              <a:gd name="connsiteY4" fmla="*/ 6350 h 215010"/>
              <a:gd name="connsiteX5" fmla="*/ 113538 w 227076"/>
              <a:gd name="connsiteY5" fmla="*/ 85089 h 215010"/>
              <a:gd name="connsiteX6" fmla="*/ 220726 w 227076"/>
              <a:gd name="connsiteY6" fmla="*/ 6350 h 21501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227076" h="215010">
                <a:moveTo>
                  <a:pt x="220726" y="6350"/>
                </a:moveTo>
                <a:lnTo>
                  <a:pt x="220726" y="129920"/>
                </a:lnTo>
                <a:lnTo>
                  <a:pt x="113538" y="208661"/>
                </a:lnTo>
                <a:lnTo>
                  <a:pt x="6350" y="129920"/>
                </a:lnTo>
                <a:lnTo>
                  <a:pt x="6350" y="6350"/>
                </a:lnTo>
                <a:lnTo>
                  <a:pt x="113538" y="85089"/>
                </a:lnTo>
                <a:lnTo>
                  <a:pt x="220726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21</a:t>
            </a:r>
          </a:p>
        </p:txBody>
      </p:sp>
      <p:sp>
        <p:nvSpPr>
          <p:cNvPr id="1037" name="TextBox 1"/>
          <p:cNvSpPr txBox="1"/>
          <p:nvPr/>
        </p:nvSpPr>
        <p:spPr>
          <a:xfrm>
            <a:off x="547643" y="547676"/>
            <a:ext cx="5206618" cy="994221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62230" algn="l"/>
                <a:tab pos="2464308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рядо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тверждения</a:t>
            </a:r>
          </a:p>
          <a:p>
            <a:pPr>
              <a:lnSpc>
                <a:spcPts val="2058"/>
              </a:lnSpc>
              <a:tabLst>
                <a:tab pos="62230" algn="l"/>
                <a:tab pos="246430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254"/>
              </a:lnSpc>
              <a:tabLst>
                <a:tab pos="62230" algn="l"/>
                <a:tab pos="2464308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тод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</p:txBody>
      </p:sp>
      <p:sp>
        <p:nvSpPr>
          <p:cNvPr id="1038" name="TextBox 1"/>
          <p:cNvSpPr txBox="1"/>
          <p:nvPr/>
        </p:nvSpPr>
        <p:spPr>
          <a:xfrm>
            <a:off x="1804734" y="2464541"/>
            <a:ext cx="2160848" cy="223815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274"/>
              </a:lnSpc>
              <a:tabLst>
                <a:tab pos="410718" algn="l"/>
                <a:tab pos="485394" algn="l"/>
              </a:tabLst>
            </a:pPr>
            <a:r>
              <a:rPr lang="en-US" altLang="zh-CN" dirty="0" smtClean="0"/>
              <a:t>	</a:t>
            </a: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Аналитические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862"/>
              </a:lnSpc>
              <a:tabLst>
                <a:tab pos="410718" algn="l"/>
                <a:tab pos="485394" algn="l"/>
              </a:tabLst>
            </a:pPr>
            <a:r>
              <a:rPr lang="en-US" altLang="zh-CN" dirty="0" smtClean="0"/>
              <a:t>		</a:t>
            </a: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аналитически-расчетный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862"/>
              </a:lnSpc>
              <a:tabLst>
                <a:tab pos="410718" algn="l"/>
                <a:tab pos="485394" algn="l"/>
              </a:tabLst>
            </a:pP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аналитически-исследовательский</a:t>
            </a:r>
          </a:p>
        </p:txBody>
      </p:sp>
      <p:sp>
        <p:nvSpPr>
          <p:cNvPr id="1039" name="TextBox 1"/>
          <p:cNvSpPr txBox="1"/>
          <p:nvPr/>
        </p:nvSpPr>
        <p:spPr>
          <a:xfrm>
            <a:off x="4816773" y="2489435"/>
            <a:ext cx="2081980" cy="3174305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274"/>
              </a:lnSpc>
              <a:tabLst>
                <a:tab pos="261366" algn="l"/>
                <a:tab pos="273812" algn="l"/>
                <a:tab pos="448056" algn="l"/>
              </a:tabLst>
            </a:pPr>
            <a:r>
              <a:rPr lang="en-US" altLang="zh-CN" dirty="0" smtClean="0"/>
              <a:t>		</a:t>
            </a: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уммарны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(синтетические)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862"/>
              </a:lnSpc>
              <a:tabLst>
                <a:tab pos="261366" algn="l"/>
                <a:tab pos="273812" algn="l"/>
                <a:tab pos="448056" algn="l"/>
              </a:tabLst>
            </a:pP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экспертный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(опытный)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862"/>
              </a:lnSpc>
              <a:tabLst>
                <a:tab pos="261366" algn="l"/>
                <a:tab pos="273812" algn="l"/>
                <a:tab pos="448056" algn="l"/>
              </a:tabLst>
            </a:pPr>
            <a:r>
              <a:rPr lang="en-US" altLang="zh-CN" dirty="0" smtClean="0"/>
              <a:t>			</a:t>
            </a: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татистический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274"/>
              </a:lnSpc>
              <a:tabLst>
                <a:tab pos="261366" algn="l"/>
                <a:tab pos="273812" algn="l"/>
                <a:tab pos="448056" algn="l"/>
              </a:tabLst>
            </a:pPr>
            <a:r>
              <a:rPr lang="en-US" altLang="zh-CN" dirty="0" smtClean="0"/>
              <a:t>	</a:t>
            </a: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равнительно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(бечмаркинг)</a:t>
            </a:r>
          </a:p>
        </p:txBody>
      </p:sp>
    </p:spTree>
    <p:extLst>
      <p:ext uri="{BB962C8B-B14F-4D97-AF65-F5344CB8AC3E}">
        <p14:creationId xmlns:p14="http://schemas.microsoft.com/office/powerpoint/2010/main" val="3065344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28974" y="1103192"/>
            <a:ext cx="7973564" cy="4728308"/>
          </a:xfrm>
          <a:custGeom>
            <a:avLst/>
            <a:gdLst>
              <a:gd name="connsiteX0" fmla="*/ 0 w 8136001"/>
              <a:gd name="connsiteY0" fmla="*/ 804037 h 4824348"/>
              <a:gd name="connsiteX1" fmla="*/ 804036 w 8136001"/>
              <a:gd name="connsiteY1" fmla="*/ 0 h 4824348"/>
              <a:gd name="connsiteX2" fmla="*/ 804036 w 8136001"/>
              <a:gd name="connsiteY2" fmla="*/ 0 h 4824348"/>
              <a:gd name="connsiteX3" fmla="*/ 804036 w 8136001"/>
              <a:gd name="connsiteY3" fmla="*/ 0 h 4824348"/>
              <a:gd name="connsiteX4" fmla="*/ 7331836 w 8136001"/>
              <a:gd name="connsiteY4" fmla="*/ 0 h 4824348"/>
              <a:gd name="connsiteX5" fmla="*/ 7331836 w 8136001"/>
              <a:gd name="connsiteY5" fmla="*/ 0 h 4824348"/>
              <a:gd name="connsiteX6" fmla="*/ 8135873 w 8136001"/>
              <a:gd name="connsiteY6" fmla="*/ 804037 h 4824348"/>
              <a:gd name="connsiteX7" fmla="*/ 8135873 w 8136001"/>
              <a:gd name="connsiteY7" fmla="*/ 804037 h 4824348"/>
              <a:gd name="connsiteX8" fmla="*/ 8135873 w 8136001"/>
              <a:gd name="connsiteY8" fmla="*/ 804037 h 4824348"/>
              <a:gd name="connsiteX9" fmla="*/ 8136001 w 8136001"/>
              <a:gd name="connsiteY9" fmla="*/ 4020312 h 4824348"/>
              <a:gd name="connsiteX10" fmla="*/ 8136001 w 8136001"/>
              <a:gd name="connsiteY10" fmla="*/ 4020312 h 4824348"/>
              <a:gd name="connsiteX11" fmla="*/ 7331836 w 8136001"/>
              <a:gd name="connsiteY11" fmla="*/ 4824349 h 4824348"/>
              <a:gd name="connsiteX12" fmla="*/ 7331836 w 8136001"/>
              <a:gd name="connsiteY12" fmla="*/ 4824349 h 4824348"/>
              <a:gd name="connsiteX13" fmla="*/ 7331836 w 8136001"/>
              <a:gd name="connsiteY13" fmla="*/ 4824349 h 4824348"/>
              <a:gd name="connsiteX14" fmla="*/ 804036 w 8136001"/>
              <a:gd name="connsiteY14" fmla="*/ 4824349 h 4824348"/>
              <a:gd name="connsiteX15" fmla="*/ 804036 w 8136001"/>
              <a:gd name="connsiteY15" fmla="*/ 4824349 h 4824348"/>
              <a:gd name="connsiteX16" fmla="*/ 0 w 8136001"/>
              <a:gd name="connsiteY16" fmla="*/ 4020312 h 4824348"/>
              <a:gd name="connsiteX17" fmla="*/ 0 w 8136001"/>
              <a:gd name="connsiteY17" fmla="*/ 4020312 h 4824348"/>
              <a:gd name="connsiteX18" fmla="*/ 0 w 8136001"/>
              <a:gd name="connsiteY18" fmla="*/ 804037 h 482434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8136001" h="4824348">
                <a:moveTo>
                  <a:pt x="0" y="804037"/>
                </a:moveTo>
                <a:cubicBezTo>
                  <a:pt x="0" y="359918"/>
                  <a:pt x="360006" y="0"/>
                  <a:pt x="804036" y="0"/>
                </a:cubicBezTo>
                <a:cubicBezTo>
                  <a:pt x="804036" y="0"/>
                  <a:pt x="804036" y="0"/>
                  <a:pt x="804036" y="0"/>
                </a:cubicBezTo>
                <a:lnTo>
                  <a:pt x="804036" y="0"/>
                </a:lnTo>
                <a:lnTo>
                  <a:pt x="7331836" y="0"/>
                </a:lnTo>
                <a:lnTo>
                  <a:pt x="7331836" y="0"/>
                </a:lnTo>
                <a:cubicBezTo>
                  <a:pt x="7775956" y="0"/>
                  <a:pt x="8135873" y="359918"/>
                  <a:pt x="8135873" y="804037"/>
                </a:cubicBezTo>
                <a:cubicBezTo>
                  <a:pt x="8135873" y="804037"/>
                  <a:pt x="8135873" y="804037"/>
                  <a:pt x="8135873" y="804037"/>
                </a:cubicBezTo>
                <a:lnTo>
                  <a:pt x="8135873" y="804037"/>
                </a:lnTo>
                <a:lnTo>
                  <a:pt x="8136001" y="4020312"/>
                </a:lnTo>
                <a:lnTo>
                  <a:pt x="8136001" y="4020312"/>
                </a:lnTo>
                <a:cubicBezTo>
                  <a:pt x="8136001" y="4464342"/>
                  <a:pt x="7775956" y="4824349"/>
                  <a:pt x="7331836" y="4824349"/>
                </a:cubicBezTo>
                <a:cubicBezTo>
                  <a:pt x="7331836" y="4824349"/>
                  <a:pt x="7331836" y="4824349"/>
                  <a:pt x="7331836" y="4824349"/>
                </a:cubicBezTo>
                <a:lnTo>
                  <a:pt x="7331836" y="4824349"/>
                </a:lnTo>
                <a:lnTo>
                  <a:pt x="804036" y="4824349"/>
                </a:lnTo>
                <a:lnTo>
                  <a:pt x="804036" y="4824349"/>
                </a:lnTo>
                <a:cubicBezTo>
                  <a:pt x="360006" y="4824349"/>
                  <a:pt x="0" y="4464342"/>
                  <a:pt x="0" y="4020312"/>
                </a:cubicBezTo>
                <a:cubicBezTo>
                  <a:pt x="0" y="4020312"/>
                  <a:pt x="0" y="4020312"/>
                  <a:pt x="0" y="4020312"/>
                </a:cubicBezTo>
                <a:lnTo>
                  <a:pt x="0" y="804037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07194" y="1879151"/>
            <a:ext cx="7617110" cy="3654776"/>
          </a:xfrm>
          <a:custGeom>
            <a:avLst/>
            <a:gdLst>
              <a:gd name="connsiteX0" fmla="*/ 0 w 7772285"/>
              <a:gd name="connsiteY0" fmla="*/ 621538 h 3729011"/>
              <a:gd name="connsiteX1" fmla="*/ 621550 w 7772285"/>
              <a:gd name="connsiteY1" fmla="*/ 0 h 3729011"/>
              <a:gd name="connsiteX2" fmla="*/ 621550 w 7772285"/>
              <a:gd name="connsiteY2" fmla="*/ 0 h 3729011"/>
              <a:gd name="connsiteX3" fmla="*/ 621550 w 7772285"/>
              <a:gd name="connsiteY3" fmla="*/ 0 h 3729011"/>
              <a:gd name="connsiteX4" fmla="*/ 7150747 w 7772285"/>
              <a:gd name="connsiteY4" fmla="*/ 0 h 3729011"/>
              <a:gd name="connsiteX5" fmla="*/ 7150747 w 7772285"/>
              <a:gd name="connsiteY5" fmla="*/ 0 h 3729011"/>
              <a:gd name="connsiteX6" fmla="*/ 7772285 w 7772285"/>
              <a:gd name="connsiteY6" fmla="*/ 621538 h 3729011"/>
              <a:gd name="connsiteX7" fmla="*/ 7772285 w 7772285"/>
              <a:gd name="connsiteY7" fmla="*/ 621538 h 3729011"/>
              <a:gd name="connsiteX8" fmla="*/ 7772285 w 7772285"/>
              <a:gd name="connsiteY8" fmla="*/ 621538 h 3729011"/>
              <a:gd name="connsiteX9" fmla="*/ 7772285 w 7772285"/>
              <a:gd name="connsiteY9" fmla="*/ 3107435 h 3729011"/>
              <a:gd name="connsiteX10" fmla="*/ 7772285 w 7772285"/>
              <a:gd name="connsiteY10" fmla="*/ 3107435 h 3729011"/>
              <a:gd name="connsiteX11" fmla="*/ 7150747 w 7772285"/>
              <a:gd name="connsiteY11" fmla="*/ 3729011 h 3729011"/>
              <a:gd name="connsiteX12" fmla="*/ 7150747 w 7772285"/>
              <a:gd name="connsiteY12" fmla="*/ 3729011 h 3729011"/>
              <a:gd name="connsiteX13" fmla="*/ 7150747 w 7772285"/>
              <a:gd name="connsiteY13" fmla="*/ 3729011 h 3729011"/>
              <a:gd name="connsiteX14" fmla="*/ 621550 w 7772285"/>
              <a:gd name="connsiteY14" fmla="*/ 3729011 h 3729011"/>
              <a:gd name="connsiteX15" fmla="*/ 621550 w 7772285"/>
              <a:gd name="connsiteY15" fmla="*/ 3729011 h 3729011"/>
              <a:gd name="connsiteX16" fmla="*/ 0 w 7772285"/>
              <a:gd name="connsiteY16" fmla="*/ 3107435 h 3729011"/>
              <a:gd name="connsiteX17" fmla="*/ 0 w 7772285"/>
              <a:gd name="connsiteY17" fmla="*/ 3107435 h 3729011"/>
              <a:gd name="connsiteX18" fmla="*/ 0 w 7772285"/>
              <a:gd name="connsiteY18" fmla="*/ 621538 h 372901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772285" h="3729011">
                <a:moveTo>
                  <a:pt x="0" y="621538"/>
                </a:moveTo>
                <a:cubicBezTo>
                  <a:pt x="0" y="278257"/>
                  <a:pt x="278269" y="0"/>
                  <a:pt x="621550" y="0"/>
                </a:cubicBezTo>
                <a:cubicBezTo>
                  <a:pt x="621550" y="0"/>
                  <a:pt x="621550" y="0"/>
                  <a:pt x="621550" y="0"/>
                </a:cubicBezTo>
                <a:lnTo>
                  <a:pt x="621550" y="0"/>
                </a:lnTo>
                <a:lnTo>
                  <a:pt x="7150747" y="0"/>
                </a:lnTo>
                <a:lnTo>
                  <a:pt x="7150747" y="0"/>
                </a:lnTo>
                <a:cubicBezTo>
                  <a:pt x="7494029" y="0"/>
                  <a:pt x="7772285" y="278257"/>
                  <a:pt x="7772285" y="621538"/>
                </a:cubicBezTo>
                <a:cubicBezTo>
                  <a:pt x="7772285" y="621538"/>
                  <a:pt x="7772285" y="621538"/>
                  <a:pt x="7772285" y="621538"/>
                </a:cubicBezTo>
                <a:lnTo>
                  <a:pt x="7772285" y="621538"/>
                </a:lnTo>
                <a:lnTo>
                  <a:pt x="7772285" y="3107435"/>
                </a:lnTo>
                <a:lnTo>
                  <a:pt x="7772285" y="3107435"/>
                </a:lnTo>
                <a:cubicBezTo>
                  <a:pt x="7772285" y="3450716"/>
                  <a:pt x="7494029" y="3729011"/>
                  <a:pt x="7150747" y="3729011"/>
                </a:cubicBezTo>
                <a:cubicBezTo>
                  <a:pt x="7150747" y="3729011"/>
                  <a:pt x="7150747" y="3729011"/>
                  <a:pt x="7150747" y="3729011"/>
                </a:cubicBezTo>
                <a:lnTo>
                  <a:pt x="7150747" y="3729011"/>
                </a:lnTo>
                <a:lnTo>
                  <a:pt x="621550" y="3729011"/>
                </a:lnTo>
                <a:lnTo>
                  <a:pt x="621550" y="3729011"/>
                </a:lnTo>
                <a:cubicBezTo>
                  <a:pt x="278269" y="3729011"/>
                  <a:pt x="0" y="3450716"/>
                  <a:pt x="0" y="3107435"/>
                </a:cubicBezTo>
                <a:cubicBezTo>
                  <a:pt x="0" y="3107435"/>
                  <a:pt x="0" y="3107435"/>
                  <a:pt x="0" y="3107435"/>
                </a:cubicBezTo>
                <a:lnTo>
                  <a:pt x="0" y="621538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547643" y="535229"/>
            <a:ext cx="3998274" cy="57102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62230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рядо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тверждения</a:t>
            </a:r>
          </a:p>
          <a:p>
            <a:pPr>
              <a:lnSpc>
                <a:spcPts val="2058"/>
              </a:lnSpc>
              <a:tabLst>
                <a:tab pos="62230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22</a:t>
            </a:r>
          </a:p>
        </p:txBody>
      </p:sp>
      <p:sp>
        <p:nvSpPr>
          <p:cNvPr id="11" name="TextBox 1"/>
          <p:cNvSpPr txBox="1"/>
          <p:nvPr/>
        </p:nvSpPr>
        <p:spPr>
          <a:xfrm>
            <a:off x="896144" y="2203150"/>
            <a:ext cx="7990649" cy="2956297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862"/>
              </a:lnSpc>
              <a:tabLst>
                <a:tab pos="87122" algn="l"/>
              </a:tabLst>
            </a:pPr>
            <a:r>
              <a:rPr lang="en-US" altLang="zh-CN" sz="17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Аналитические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–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эт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метод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ирова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а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котор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снован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дифференциации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ово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роцесс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тдельн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оставляющие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пределен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и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ативн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затра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ремени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формирован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чето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циональн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рганизац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роцесс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целом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бъем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качеств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ыполняем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.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Аналитическ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метод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одразделяю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аналитически-расчетный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аналитически-исследовательский.</a:t>
            </a:r>
          </a:p>
          <a:p>
            <a:pPr>
              <a:lnSpc>
                <a:spcPts val="2352"/>
              </a:lnSpc>
              <a:tabLst>
                <a:tab pos="87122" algn="l"/>
              </a:tabLst>
            </a:pPr>
            <a:r>
              <a:rPr lang="en-US" altLang="zh-CN" sz="17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Аналитически-исследовательски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метод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снован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роведен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змере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затра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с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оставляющ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элемент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ово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роцесс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птимальн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рганизационно-технических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словиях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оответствующи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овременн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ехнолог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ыполне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.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оемкость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этого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мето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купае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озможностью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коррекц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езультативн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данн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рименен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зных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ехнологи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ыполне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.</a:t>
            </a:r>
          </a:p>
          <a:p>
            <a:pPr>
              <a:lnSpc>
                <a:spcPts val="2352"/>
              </a:lnSpc>
              <a:tabLst>
                <a:tab pos="87122" algn="l"/>
              </a:tabLst>
            </a:pPr>
            <a:r>
              <a:rPr lang="en-US" altLang="zh-CN" sz="17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Аналитически-расчетны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метод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снован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спользован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не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зработанн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оказателей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затра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о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л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н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ид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деятельност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дл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пределе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конкретно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бъем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ы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(трудоемкост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)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счет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еобходим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численност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ерсонала.</a:t>
            </a:r>
          </a:p>
        </p:txBody>
      </p:sp>
    </p:spTree>
    <p:extLst>
      <p:ext uri="{BB962C8B-B14F-4D97-AF65-F5344CB8AC3E}">
        <p14:creationId xmlns:p14="http://schemas.microsoft.com/office/powerpoint/2010/main" val="3090382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3"/>
          <p:cNvSpPr/>
          <p:nvPr/>
        </p:nvSpPr>
        <p:spPr>
          <a:xfrm>
            <a:off x="528974" y="1103192"/>
            <a:ext cx="7973564" cy="4728308"/>
          </a:xfrm>
          <a:custGeom>
            <a:avLst/>
            <a:gdLst>
              <a:gd name="connsiteX0" fmla="*/ 0 w 8136001"/>
              <a:gd name="connsiteY0" fmla="*/ 804037 h 4824348"/>
              <a:gd name="connsiteX1" fmla="*/ 804036 w 8136001"/>
              <a:gd name="connsiteY1" fmla="*/ 0 h 4824348"/>
              <a:gd name="connsiteX2" fmla="*/ 804036 w 8136001"/>
              <a:gd name="connsiteY2" fmla="*/ 0 h 4824348"/>
              <a:gd name="connsiteX3" fmla="*/ 804036 w 8136001"/>
              <a:gd name="connsiteY3" fmla="*/ 0 h 4824348"/>
              <a:gd name="connsiteX4" fmla="*/ 7331836 w 8136001"/>
              <a:gd name="connsiteY4" fmla="*/ 0 h 4824348"/>
              <a:gd name="connsiteX5" fmla="*/ 7331836 w 8136001"/>
              <a:gd name="connsiteY5" fmla="*/ 0 h 4824348"/>
              <a:gd name="connsiteX6" fmla="*/ 8135873 w 8136001"/>
              <a:gd name="connsiteY6" fmla="*/ 804037 h 4824348"/>
              <a:gd name="connsiteX7" fmla="*/ 8135873 w 8136001"/>
              <a:gd name="connsiteY7" fmla="*/ 804037 h 4824348"/>
              <a:gd name="connsiteX8" fmla="*/ 8135873 w 8136001"/>
              <a:gd name="connsiteY8" fmla="*/ 804037 h 4824348"/>
              <a:gd name="connsiteX9" fmla="*/ 8136001 w 8136001"/>
              <a:gd name="connsiteY9" fmla="*/ 4020312 h 4824348"/>
              <a:gd name="connsiteX10" fmla="*/ 8136001 w 8136001"/>
              <a:gd name="connsiteY10" fmla="*/ 4020312 h 4824348"/>
              <a:gd name="connsiteX11" fmla="*/ 7331836 w 8136001"/>
              <a:gd name="connsiteY11" fmla="*/ 4824349 h 4824348"/>
              <a:gd name="connsiteX12" fmla="*/ 7331836 w 8136001"/>
              <a:gd name="connsiteY12" fmla="*/ 4824349 h 4824348"/>
              <a:gd name="connsiteX13" fmla="*/ 7331836 w 8136001"/>
              <a:gd name="connsiteY13" fmla="*/ 4824349 h 4824348"/>
              <a:gd name="connsiteX14" fmla="*/ 804036 w 8136001"/>
              <a:gd name="connsiteY14" fmla="*/ 4824349 h 4824348"/>
              <a:gd name="connsiteX15" fmla="*/ 804036 w 8136001"/>
              <a:gd name="connsiteY15" fmla="*/ 4824349 h 4824348"/>
              <a:gd name="connsiteX16" fmla="*/ 0 w 8136001"/>
              <a:gd name="connsiteY16" fmla="*/ 4020312 h 4824348"/>
              <a:gd name="connsiteX17" fmla="*/ 0 w 8136001"/>
              <a:gd name="connsiteY17" fmla="*/ 4020312 h 4824348"/>
              <a:gd name="connsiteX18" fmla="*/ 0 w 8136001"/>
              <a:gd name="connsiteY18" fmla="*/ 804037 h 482434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8136001" h="4824348">
                <a:moveTo>
                  <a:pt x="0" y="804037"/>
                </a:moveTo>
                <a:cubicBezTo>
                  <a:pt x="0" y="359918"/>
                  <a:pt x="360006" y="0"/>
                  <a:pt x="804036" y="0"/>
                </a:cubicBezTo>
                <a:cubicBezTo>
                  <a:pt x="804036" y="0"/>
                  <a:pt x="804036" y="0"/>
                  <a:pt x="804036" y="0"/>
                </a:cubicBezTo>
                <a:lnTo>
                  <a:pt x="804036" y="0"/>
                </a:lnTo>
                <a:lnTo>
                  <a:pt x="7331836" y="0"/>
                </a:lnTo>
                <a:lnTo>
                  <a:pt x="7331836" y="0"/>
                </a:lnTo>
                <a:cubicBezTo>
                  <a:pt x="7775956" y="0"/>
                  <a:pt x="8135873" y="359918"/>
                  <a:pt x="8135873" y="804037"/>
                </a:cubicBezTo>
                <a:cubicBezTo>
                  <a:pt x="8135873" y="804037"/>
                  <a:pt x="8135873" y="804037"/>
                  <a:pt x="8135873" y="804037"/>
                </a:cubicBezTo>
                <a:lnTo>
                  <a:pt x="8135873" y="804037"/>
                </a:lnTo>
                <a:lnTo>
                  <a:pt x="8136001" y="4020312"/>
                </a:lnTo>
                <a:lnTo>
                  <a:pt x="8136001" y="4020312"/>
                </a:lnTo>
                <a:cubicBezTo>
                  <a:pt x="8136001" y="4464342"/>
                  <a:pt x="7775956" y="4824349"/>
                  <a:pt x="7331836" y="4824349"/>
                </a:cubicBezTo>
                <a:cubicBezTo>
                  <a:pt x="7331836" y="4824349"/>
                  <a:pt x="7331836" y="4824349"/>
                  <a:pt x="7331836" y="4824349"/>
                </a:cubicBezTo>
                <a:lnTo>
                  <a:pt x="7331836" y="4824349"/>
                </a:lnTo>
                <a:lnTo>
                  <a:pt x="804036" y="4824349"/>
                </a:lnTo>
                <a:lnTo>
                  <a:pt x="804036" y="4824349"/>
                </a:lnTo>
                <a:cubicBezTo>
                  <a:pt x="360006" y="4824349"/>
                  <a:pt x="0" y="4464342"/>
                  <a:pt x="0" y="4020312"/>
                </a:cubicBezTo>
                <a:cubicBezTo>
                  <a:pt x="0" y="4020312"/>
                  <a:pt x="0" y="4020312"/>
                  <a:pt x="0" y="4020312"/>
                </a:cubicBezTo>
                <a:lnTo>
                  <a:pt x="0" y="804037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07194" y="1879151"/>
            <a:ext cx="7617110" cy="3654776"/>
          </a:xfrm>
          <a:custGeom>
            <a:avLst/>
            <a:gdLst>
              <a:gd name="connsiteX0" fmla="*/ 0 w 7772285"/>
              <a:gd name="connsiteY0" fmla="*/ 621538 h 3729011"/>
              <a:gd name="connsiteX1" fmla="*/ 621550 w 7772285"/>
              <a:gd name="connsiteY1" fmla="*/ 0 h 3729011"/>
              <a:gd name="connsiteX2" fmla="*/ 621550 w 7772285"/>
              <a:gd name="connsiteY2" fmla="*/ 0 h 3729011"/>
              <a:gd name="connsiteX3" fmla="*/ 621550 w 7772285"/>
              <a:gd name="connsiteY3" fmla="*/ 0 h 3729011"/>
              <a:gd name="connsiteX4" fmla="*/ 7150747 w 7772285"/>
              <a:gd name="connsiteY4" fmla="*/ 0 h 3729011"/>
              <a:gd name="connsiteX5" fmla="*/ 7150747 w 7772285"/>
              <a:gd name="connsiteY5" fmla="*/ 0 h 3729011"/>
              <a:gd name="connsiteX6" fmla="*/ 7772285 w 7772285"/>
              <a:gd name="connsiteY6" fmla="*/ 621538 h 3729011"/>
              <a:gd name="connsiteX7" fmla="*/ 7772285 w 7772285"/>
              <a:gd name="connsiteY7" fmla="*/ 621538 h 3729011"/>
              <a:gd name="connsiteX8" fmla="*/ 7772285 w 7772285"/>
              <a:gd name="connsiteY8" fmla="*/ 621538 h 3729011"/>
              <a:gd name="connsiteX9" fmla="*/ 7772285 w 7772285"/>
              <a:gd name="connsiteY9" fmla="*/ 3107435 h 3729011"/>
              <a:gd name="connsiteX10" fmla="*/ 7772285 w 7772285"/>
              <a:gd name="connsiteY10" fmla="*/ 3107435 h 3729011"/>
              <a:gd name="connsiteX11" fmla="*/ 7150747 w 7772285"/>
              <a:gd name="connsiteY11" fmla="*/ 3729011 h 3729011"/>
              <a:gd name="connsiteX12" fmla="*/ 7150747 w 7772285"/>
              <a:gd name="connsiteY12" fmla="*/ 3729011 h 3729011"/>
              <a:gd name="connsiteX13" fmla="*/ 7150747 w 7772285"/>
              <a:gd name="connsiteY13" fmla="*/ 3729011 h 3729011"/>
              <a:gd name="connsiteX14" fmla="*/ 621550 w 7772285"/>
              <a:gd name="connsiteY14" fmla="*/ 3729011 h 3729011"/>
              <a:gd name="connsiteX15" fmla="*/ 621550 w 7772285"/>
              <a:gd name="connsiteY15" fmla="*/ 3729011 h 3729011"/>
              <a:gd name="connsiteX16" fmla="*/ 0 w 7772285"/>
              <a:gd name="connsiteY16" fmla="*/ 3107435 h 3729011"/>
              <a:gd name="connsiteX17" fmla="*/ 0 w 7772285"/>
              <a:gd name="connsiteY17" fmla="*/ 3107435 h 3729011"/>
              <a:gd name="connsiteX18" fmla="*/ 0 w 7772285"/>
              <a:gd name="connsiteY18" fmla="*/ 621538 h 372901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772285" h="3729011">
                <a:moveTo>
                  <a:pt x="0" y="621538"/>
                </a:moveTo>
                <a:cubicBezTo>
                  <a:pt x="0" y="278257"/>
                  <a:pt x="278269" y="0"/>
                  <a:pt x="621550" y="0"/>
                </a:cubicBezTo>
                <a:cubicBezTo>
                  <a:pt x="621550" y="0"/>
                  <a:pt x="621550" y="0"/>
                  <a:pt x="621550" y="0"/>
                </a:cubicBezTo>
                <a:lnTo>
                  <a:pt x="621550" y="0"/>
                </a:lnTo>
                <a:lnTo>
                  <a:pt x="7150747" y="0"/>
                </a:lnTo>
                <a:lnTo>
                  <a:pt x="7150747" y="0"/>
                </a:lnTo>
                <a:cubicBezTo>
                  <a:pt x="7494029" y="0"/>
                  <a:pt x="7772285" y="278257"/>
                  <a:pt x="7772285" y="621538"/>
                </a:cubicBezTo>
                <a:cubicBezTo>
                  <a:pt x="7772285" y="621538"/>
                  <a:pt x="7772285" y="621538"/>
                  <a:pt x="7772285" y="621538"/>
                </a:cubicBezTo>
                <a:lnTo>
                  <a:pt x="7772285" y="621538"/>
                </a:lnTo>
                <a:lnTo>
                  <a:pt x="7772285" y="3107435"/>
                </a:lnTo>
                <a:lnTo>
                  <a:pt x="7772285" y="3107435"/>
                </a:lnTo>
                <a:cubicBezTo>
                  <a:pt x="7772285" y="3450716"/>
                  <a:pt x="7494029" y="3729011"/>
                  <a:pt x="7150747" y="3729011"/>
                </a:cubicBezTo>
                <a:cubicBezTo>
                  <a:pt x="7150747" y="3729011"/>
                  <a:pt x="7150747" y="3729011"/>
                  <a:pt x="7150747" y="3729011"/>
                </a:cubicBezTo>
                <a:lnTo>
                  <a:pt x="7150747" y="3729011"/>
                </a:lnTo>
                <a:lnTo>
                  <a:pt x="621550" y="3729011"/>
                </a:lnTo>
                <a:lnTo>
                  <a:pt x="621550" y="3729011"/>
                </a:lnTo>
                <a:cubicBezTo>
                  <a:pt x="278269" y="3729011"/>
                  <a:pt x="0" y="3450716"/>
                  <a:pt x="0" y="3107435"/>
                </a:cubicBezTo>
                <a:cubicBezTo>
                  <a:pt x="0" y="3107435"/>
                  <a:pt x="0" y="3107435"/>
                  <a:pt x="0" y="3107435"/>
                </a:cubicBezTo>
                <a:lnTo>
                  <a:pt x="0" y="621538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547643" y="535229"/>
            <a:ext cx="3998274" cy="57102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62230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рядо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тверждения</a:t>
            </a:r>
          </a:p>
          <a:p>
            <a:pPr>
              <a:lnSpc>
                <a:spcPts val="2058"/>
              </a:lnSpc>
              <a:tabLst>
                <a:tab pos="62230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23</a:t>
            </a:r>
          </a:p>
        </p:txBody>
      </p:sp>
      <p:sp>
        <p:nvSpPr>
          <p:cNvPr id="11" name="TextBox 1"/>
          <p:cNvSpPr txBox="1"/>
          <p:nvPr/>
        </p:nvSpPr>
        <p:spPr>
          <a:xfrm>
            <a:off x="896144" y="2190703"/>
            <a:ext cx="8013091" cy="249463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862"/>
              </a:lnSpc>
              <a:tabLst>
                <a:tab pos="87122" algn="l"/>
              </a:tabLst>
            </a:pPr>
            <a:r>
              <a:rPr lang="en-US" altLang="zh-CN" sz="17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уммарные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–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эт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метод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ирова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а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котор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пределяю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затрат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фактическ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ыполненн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ы.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ростот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доступность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это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мето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озволяе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широко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спользовать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е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р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ировании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как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дл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анализ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а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ак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дл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становле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в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перативно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орядке.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пределенн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спользование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уммарно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мето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одлежа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оследующе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замен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оказатели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становленн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рименение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аналитически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методов.</a:t>
            </a:r>
          </a:p>
          <a:p>
            <a:pPr>
              <a:lnSpc>
                <a:spcPts val="1960"/>
              </a:lnSpc>
              <a:tabLst>
                <a:tab pos="87122" algn="l"/>
              </a:tabLst>
            </a:pPr>
            <a:r>
              <a:rPr lang="en-US" altLang="zh-CN" sz="17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равнительное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ирова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(применяе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о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лучае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есл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ехнолог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роведения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конкретн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аналогич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ой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которую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ж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мею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у);</a:t>
            </a:r>
          </a:p>
          <a:p>
            <a:pPr>
              <a:lnSpc>
                <a:spcPts val="1960"/>
              </a:lnSpc>
              <a:tabLst>
                <a:tab pos="87122" algn="l"/>
              </a:tabLst>
            </a:pPr>
            <a:r>
              <a:rPr lang="en-US" altLang="zh-CN" sz="17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экспертный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(опытный)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метод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(показател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станавливаю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снов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рошло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пыта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зработчик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ативов);</a:t>
            </a:r>
          </a:p>
          <a:p>
            <a:pPr>
              <a:lnSpc>
                <a:spcPts val="1960"/>
              </a:lnSpc>
              <a:tabLst>
                <a:tab pos="87122" algn="l"/>
              </a:tabLst>
            </a:pPr>
            <a:r>
              <a:rPr lang="en-US" altLang="zh-CN" sz="17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татистический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метод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(применяе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р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лич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татистически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данн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б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бъем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ы,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пример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числ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ов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пераци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л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пределенн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роцедур).</a:t>
            </a:r>
          </a:p>
        </p:txBody>
      </p:sp>
    </p:spTree>
    <p:extLst>
      <p:ext uri="{BB962C8B-B14F-4D97-AF65-F5344CB8AC3E}">
        <p14:creationId xmlns:p14="http://schemas.microsoft.com/office/powerpoint/2010/main" val="3373880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2998099" y="1103193"/>
            <a:ext cx="2893798" cy="521910"/>
          </a:xfrm>
          <a:custGeom>
            <a:avLst/>
            <a:gdLst>
              <a:gd name="connsiteX0" fmla="*/ 0 w 2952750"/>
              <a:gd name="connsiteY0" fmla="*/ 266191 h 532511"/>
              <a:gd name="connsiteX1" fmla="*/ 1476375 w 2952750"/>
              <a:gd name="connsiteY1" fmla="*/ 0 h 532511"/>
              <a:gd name="connsiteX2" fmla="*/ 1476375 w 2952750"/>
              <a:gd name="connsiteY2" fmla="*/ 0 h 532511"/>
              <a:gd name="connsiteX3" fmla="*/ 2952750 w 2952750"/>
              <a:gd name="connsiteY3" fmla="*/ 266191 h 532511"/>
              <a:gd name="connsiteX4" fmla="*/ 2952750 w 2952750"/>
              <a:gd name="connsiteY4" fmla="*/ 266191 h 532511"/>
              <a:gd name="connsiteX5" fmla="*/ 2952750 w 2952750"/>
              <a:gd name="connsiteY5" fmla="*/ 266191 h 532511"/>
              <a:gd name="connsiteX6" fmla="*/ 1476375 w 2952750"/>
              <a:gd name="connsiteY6" fmla="*/ 532511 h 532511"/>
              <a:gd name="connsiteX7" fmla="*/ 1476375 w 2952750"/>
              <a:gd name="connsiteY7" fmla="*/ 532511 h 532511"/>
              <a:gd name="connsiteX8" fmla="*/ 1476375 w 2952750"/>
              <a:gd name="connsiteY8" fmla="*/ 532511 h 532511"/>
              <a:gd name="connsiteX9" fmla="*/ 0 w 2952750"/>
              <a:gd name="connsiteY9" fmla="*/ 266191 h 532511"/>
              <a:gd name="connsiteX10" fmla="*/ 0 w 2952750"/>
              <a:gd name="connsiteY10" fmla="*/ 266191 h 53251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</a:cxnLst>
            <a:rect l="l" t="t" r="r" b="b"/>
            <a:pathLst>
              <a:path w="2952750" h="532511">
                <a:moveTo>
                  <a:pt x="0" y="266191"/>
                </a:moveTo>
                <a:cubicBezTo>
                  <a:pt x="0" y="119126"/>
                  <a:pt x="660908" y="0"/>
                  <a:pt x="1476375" y="0"/>
                </a:cubicBezTo>
                <a:lnTo>
                  <a:pt x="1476375" y="0"/>
                </a:lnTo>
                <a:cubicBezTo>
                  <a:pt x="2291714" y="0"/>
                  <a:pt x="2952750" y="119126"/>
                  <a:pt x="2952750" y="266191"/>
                </a:cubicBezTo>
                <a:cubicBezTo>
                  <a:pt x="2952750" y="266191"/>
                  <a:pt x="2952750" y="266191"/>
                  <a:pt x="2952750" y="266191"/>
                </a:cubicBezTo>
                <a:lnTo>
                  <a:pt x="2952750" y="266191"/>
                </a:lnTo>
                <a:cubicBezTo>
                  <a:pt x="2952750" y="413258"/>
                  <a:pt x="2291714" y="532511"/>
                  <a:pt x="1476375" y="532511"/>
                </a:cubicBezTo>
                <a:cubicBezTo>
                  <a:pt x="1476375" y="532511"/>
                  <a:pt x="1476375" y="532511"/>
                  <a:pt x="1476375" y="532511"/>
                </a:cubicBezTo>
                <a:lnTo>
                  <a:pt x="1476375" y="532511"/>
                </a:lnTo>
                <a:cubicBezTo>
                  <a:pt x="660908" y="532511"/>
                  <a:pt x="0" y="413258"/>
                  <a:pt x="0" y="266191"/>
                </a:cubicBezTo>
                <a:cubicBezTo>
                  <a:pt x="0" y="266191"/>
                  <a:pt x="0" y="266191"/>
                  <a:pt x="0" y="266191"/>
                </a:cubicBezTo>
              </a:path>
            </a:pathLst>
          </a:custGeom>
          <a:solidFill>
            <a:srgbClr val="FF9854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2991876" y="1096969"/>
            <a:ext cx="2906244" cy="534357"/>
          </a:xfrm>
          <a:custGeom>
            <a:avLst/>
            <a:gdLst>
              <a:gd name="connsiteX0" fmla="*/ 6350 w 2965450"/>
              <a:gd name="connsiteY0" fmla="*/ 272541 h 545211"/>
              <a:gd name="connsiteX1" fmla="*/ 1482725 w 2965450"/>
              <a:gd name="connsiteY1" fmla="*/ 6350 h 545211"/>
              <a:gd name="connsiteX2" fmla="*/ 1482725 w 2965450"/>
              <a:gd name="connsiteY2" fmla="*/ 6350 h 545211"/>
              <a:gd name="connsiteX3" fmla="*/ 2959100 w 2965450"/>
              <a:gd name="connsiteY3" fmla="*/ 272541 h 545211"/>
              <a:gd name="connsiteX4" fmla="*/ 2959100 w 2965450"/>
              <a:gd name="connsiteY4" fmla="*/ 272541 h 545211"/>
              <a:gd name="connsiteX5" fmla="*/ 2959100 w 2965450"/>
              <a:gd name="connsiteY5" fmla="*/ 272541 h 545211"/>
              <a:gd name="connsiteX6" fmla="*/ 1482725 w 2965450"/>
              <a:gd name="connsiteY6" fmla="*/ 538861 h 545211"/>
              <a:gd name="connsiteX7" fmla="*/ 1482725 w 2965450"/>
              <a:gd name="connsiteY7" fmla="*/ 538861 h 545211"/>
              <a:gd name="connsiteX8" fmla="*/ 1482725 w 2965450"/>
              <a:gd name="connsiteY8" fmla="*/ 538861 h 545211"/>
              <a:gd name="connsiteX9" fmla="*/ 6350 w 2965450"/>
              <a:gd name="connsiteY9" fmla="*/ 272541 h 545211"/>
              <a:gd name="connsiteX10" fmla="*/ 6350 w 2965450"/>
              <a:gd name="connsiteY10" fmla="*/ 272541 h 54521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</a:cxnLst>
            <a:rect l="l" t="t" r="r" b="b"/>
            <a:pathLst>
              <a:path w="2965450" h="545211">
                <a:moveTo>
                  <a:pt x="6350" y="272541"/>
                </a:moveTo>
                <a:cubicBezTo>
                  <a:pt x="6350" y="125476"/>
                  <a:pt x="667258" y="6350"/>
                  <a:pt x="1482725" y="6350"/>
                </a:cubicBezTo>
                <a:lnTo>
                  <a:pt x="1482725" y="6350"/>
                </a:lnTo>
                <a:cubicBezTo>
                  <a:pt x="2298064" y="6350"/>
                  <a:pt x="2959100" y="125476"/>
                  <a:pt x="2959100" y="272541"/>
                </a:cubicBezTo>
                <a:cubicBezTo>
                  <a:pt x="2959100" y="272541"/>
                  <a:pt x="2959100" y="272541"/>
                  <a:pt x="2959100" y="272541"/>
                </a:cubicBezTo>
                <a:lnTo>
                  <a:pt x="2959100" y="272541"/>
                </a:lnTo>
                <a:cubicBezTo>
                  <a:pt x="2959100" y="419608"/>
                  <a:pt x="2298064" y="538861"/>
                  <a:pt x="1482725" y="538861"/>
                </a:cubicBezTo>
                <a:cubicBezTo>
                  <a:pt x="1482725" y="538861"/>
                  <a:pt x="1482725" y="538861"/>
                  <a:pt x="1482725" y="538861"/>
                </a:cubicBezTo>
                <a:lnTo>
                  <a:pt x="1482725" y="538861"/>
                </a:lnTo>
                <a:cubicBezTo>
                  <a:pt x="667258" y="538861"/>
                  <a:pt x="6350" y="419608"/>
                  <a:pt x="6350" y="272541"/>
                </a:cubicBezTo>
                <a:cubicBezTo>
                  <a:pt x="6350" y="272541"/>
                  <a:pt x="6350" y="272541"/>
                  <a:pt x="6350" y="272541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7" name="Freeform 3"/>
          <p:cNvSpPr/>
          <p:nvPr/>
        </p:nvSpPr>
        <p:spPr>
          <a:xfrm>
            <a:off x="2998099" y="1856123"/>
            <a:ext cx="2752156" cy="289769"/>
          </a:xfrm>
          <a:custGeom>
            <a:avLst/>
            <a:gdLst>
              <a:gd name="connsiteX0" fmla="*/ 0 w 2808223"/>
              <a:gd name="connsiteY0" fmla="*/ 147827 h 295655"/>
              <a:gd name="connsiteX1" fmla="*/ 1404111 w 2808223"/>
              <a:gd name="connsiteY1" fmla="*/ 0 h 295655"/>
              <a:gd name="connsiteX2" fmla="*/ 1404111 w 2808223"/>
              <a:gd name="connsiteY2" fmla="*/ 0 h 295655"/>
              <a:gd name="connsiteX3" fmla="*/ 2808223 w 2808223"/>
              <a:gd name="connsiteY3" fmla="*/ 147827 h 295655"/>
              <a:gd name="connsiteX4" fmla="*/ 2808223 w 2808223"/>
              <a:gd name="connsiteY4" fmla="*/ 147827 h 295655"/>
              <a:gd name="connsiteX5" fmla="*/ 2808223 w 2808223"/>
              <a:gd name="connsiteY5" fmla="*/ 147827 h 295655"/>
              <a:gd name="connsiteX6" fmla="*/ 1404111 w 2808223"/>
              <a:gd name="connsiteY6" fmla="*/ 295655 h 295655"/>
              <a:gd name="connsiteX7" fmla="*/ 1404111 w 2808223"/>
              <a:gd name="connsiteY7" fmla="*/ 295655 h 295655"/>
              <a:gd name="connsiteX8" fmla="*/ 1404111 w 2808223"/>
              <a:gd name="connsiteY8" fmla="*/ 295655 h 295655"/>
              <a:gd name="connsiteX9" fmla="*/ 0 w 2808223"/>
              <a:gd name="connsiteY9" fmla="*/ 147827 h 295655"/>
              <a:gd name="connsiteX10" fmla="*/ 0 w 2808223"/>
              <a:gd name="connsiteY10" fmla="*/ 147827 h 29565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</a:cxnLst>
            <a:rect l="l" t="t" r="r" b="b"/>
            <a:pathLst>
              <a:path w="2808223" h="295655">
                <a:moveTo>
                  <a:pt x="0" y="147827"/>
                </a:moveTo>
                <a:cubicBezTo>
                  <a:pt x="0" y="66167"/>
                  <a:pt x="628650" y="0"/>
                  <a:pt x="1404111" y="0"/>
                </a:cubicBezTo>
                <a:lnTo>
                  <a:pt x="1404111" y="0"/>
                </a:lnTo>
                <a:cubicBezTo>
                  <a:pt x="2179573" y="0"/>
                  <a:pt x="2808223" y="66167"/>
                  <a:pt x="2808223" y="147827"/>
                </a:cubicBezTo>
                <a:cubicBezTo>
                  <a:pt x="2808223" y="147827"/>
                  <a:pt x="2808223" y="147827"/>
                  <a:pt x="2808223" y="147827"/>
                </a:cubicBezTo>
                <a:lnTo>
                  <a:pt x="2808223" y="147827"/>
                </a:lnTo>
                <a:cubicBezTo>
                  <a:pt x="2808223" y="229489"/>
                  <a:pt x="2179573" y="295655"/>
                  <a:pt x="1404111" y="295655"/>
                </a:cubicBezTo>
                <a:cubicBezTo>
                  <a:pt x="1404111" y="295655"/>
                  <a:pt x="1404111" y="295655"/>
                  <a:pt x="1404111" y="295655"/>
                </a:cubicBezTo>
                <a:lnTo>
                  <a:pt x="1404111" y="295655"/>
                </a:lnTo>
                <a:cubicBezTo>
                  <a:pt x="628650" y="295655"/>
                  <a:pt x="0" y="229489"/>
                  <a:pt x="0" y="147827"/>
                </a:cubicBezTo>
                <a:cubicBezTo>
                  <a:pt x="0" y="147827"/>
                  <a:pt x="0" y="147827"/>
                  <a:pt x="0" y="147827"/>
                </a:cubicBezTo>
              </a:path>
            </a:pathLst>
          </a:custGeom>
          <a:solidFill>
            <a:srgbClr val="FF9854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8" name="Freeform 3"/>
          <p:cNvSpPr/>
          <p:nvPr/>
        </p:nvSpPr>
        <p:spPr>
          <a:xfrm>
            <a:off x="2991876" y="1849899"/>
            <a:ext cx="2764603" cy="302216"/>
          </a:xfrm>
          <a:custGeom>
            <a:avLst/>
            <a:gdLst>
              <a:gd name="connsiteX0" fmla="*/ 6350 w 2820923"/>
              <a:gd name="connsiteY0" fmla="*/ 154177 h 308355"/>
              <a:gd name="connsiteX1" fmla="*/ 1410461 w 2820923"/>
              <a:gd name="connsiteY1" fmla="*/ 6350 h 308355"/>
              <a:gd name="connsiteX2" fmla="*/ 1410461 w 2820923"/>
              <a:gd name="connsiteY2" fmla="*/ 6350 h 308355"/>
              <a:gd name="connsiteX3" fmla="*/ 2814573 w 2820923"/>
              <a:gd name="connsiteY3" fmla="*/ 154177 h 308355"/>
              <a:gd name="connsiteX4" fmla="*/ 2814573 w 2820923"/>
              <a:gd name="connsiteY4" fmla="*/ 154177 h 308355"/>
              <a:gd name="connsiteX5" fmla="*/ 2814573 w 2820923"/>
              <a:gd name="connsiteY5" fmla="*/ 154177 h 308355"/>
              <a:gd name="connsiteX6" fmla="*/ 1410461 w 2820923"/>
              <a:gd name="connsiteY6" fmla="*/ 302005 h 308355"/>
              <a:gd name="connsiteX7" fmla="*/ 1410461 w 2820923"/>
              <a:gd name="connsiteY7" fmla="*/ 302005 h 308355"/>
              <a:gd name="connsiteX8" fmla="*/ 1410461 w 2820923"/>
              <a:gd name="connsiteY8" fmla="*/ 302005 h 308355"/>
              <a:gd name="connsiteX9" fmla="*/ 6350 w 2820923"/>
              <a:gd name="connsiteY9" fmla="*/ 154177 h 308355"/>
              <a:gd name="connsiteX10" fmla="*/ 6350 w 2820923"/>
              <a:gd name="connsiteY10" fmla="*/ 154177 h 30835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</a:cxnLst>
            <a:rect l="l" t="t" r="r" b="b"/>
            <a:pathLst>
              <a:path w="2820923" h="308355">
                <a:moveTo>
                  <a:pt x="6350" y="154177"/>
                </a:moveTo>
                <a:cubicBezTo>
                  <a:pt x="6350" y="72517"/>
                  <a:pt x="635000" y="6350"/>
                  <a:pt x="1410461" y="6350"/>
                </a:cubicBezTo>
                <a:lnTo>
                  <a:pt x="1410461" y="6350"/>
                </a:lnTo>
                <a:cubicBezTo>
                  <a:pt x="2185923" y="6350"/>
                  <a:pt x="2814573" y="72517"/>
                  <a:pt x="2814573" y="154177"/>
                </a:cubicBezTo>
                <a:cubicBezTo>
                  <a:pt x="2814573" y="154177"/>
                  <a:pt x="2814573" y="154177"/>
                  <a:pt x="2814573" y="154177"/>
                </a:cubicBezTo>
                <a:lnTo>
                  <a:pt x="2814573" y="154177"/>
                </a:lnTo>
                <a:cubicBezTo>
                  <a:pt x="2814573" y="235839"/>
                  <a:pt x="2185923" y="302005"/>
                  <a:pt x="1410461" y="302005"/>
                </a:cubicBezTo>
                <a:cubicBezTo>
                  <a:pt x="1410461" y="302005"/>
                  <a:pt x="1410461" y="302005"/>
                  <a:pt x="1410461" y="302005"/>
                </a:cubicBezTo>
                <a:lnTo>
                  <a:pt x="1410461" y="302005"/>
                </a:lnTo>
                <a:cubicBezTo>
                  <a:pt x="635000" y="302005"/>
                  <a:pt x="6350" y="235839"/>
                  <a:pt x="6350" y="154177"/>
                </a:cubicBezTo>
                <a:cubicBezTo>
                  <a:pt x="6350" y="154177"/>
                  <a:pt x="6350" y="154177"/>
                  <a:pt x="6350" y="154177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9" name="Freeform 3"/>
          <p:cNvSpPr/>
          <p:nvPr/>
        </p:nvSpPr>
        <p:spPr>
          <a:xfrm>
            <a:off x="598985" y="2376913"/>
            <a:ext cx="7691963" cy="461915"/>
          </a:xfrm>
          <a:custGeom>
            <a:avLst/>
            <a:gdLst>
              <a:gd name="connsiteX0" fmla="*/ 0 w 7848663"/>
              <a:gd name="connsiteY0" fmla="*/ 235711 h 471297"/>
              <a:gd name="connsiteX1" fmla="*/ 3924236 w 7848663"/>
              <a:gd name="connsiteY1" fmla="*/ 0 h 471297"/>
              <a:gd name="connsiteX2" fmla="*/ 3924236 w 7848663"/>
              <a:gd name="connsiteY2" fmla="*/ 0 h 471297"/>
              <a:gd name="connsiteX3" fmla="*/ 7848663 w 7848663"/>
              <a:gd name="connsiteY3" fmla="*/ 235711 h 471297"/>
              <a:gd name="connsiteX4" fmla="*/ 7848663 w 7848663"/>
              <a:gd name="connsiteY4" fmla="*/ 235711 h 471297"/>
              <a:gd name="connsiteX5" fmla="*/ 7848663 w 7848663"/>
              <a:gd name="connsiteY5" fmla="*/ 235711 h 471297"/>
              <a:gd name="connsiteX6" fmla="*/ 3924363 w 7848663"/>
              <a:gd name="connsiteY6" fmla="*/ 471297 h 471297"/>
              <a:gd name="connsiteX7" fmla="*/ 3924363 w 7848663"/>
              <a:gd name="connsiteY7" fmla="*/ 471297 h 471297"/>
              <a:gd name="connsiteX8" fmla="*/ 3924363 w 7848663"/>
              <a:gd name="connsiteY8" fmla="*/ 471297 h 471297"/>
              <a:gd name="connsiteX9" fmla="*/ 0 w 7848663"/>
              <a:gd name="connsiteY9" fmla="*/ 235711 h 471297"/>
              <a:gd name="connsiteX10" fmla="*/ 0 w 7848663"/>
              <a:gd name="connsiteY10" fmla="*/ 235711 h 47129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</a:cxnLst>
            <a:rect l="l" t="t" r="r" b="b"/>
            <a:pathLst>
              <a:path w="7848663" h="471297">
                <a:moveTo>
                  <a:pt x="0" y="235711"/>
                </a:moveTo>
                <a:cubicBezTo>
                  <a:pt x="38" y="105536"/>
                  <a:pt x="1756981" y="0"/>
                  <a:pt x="3924236" y="0"/>
                </a:cubicBezTo>
                <a:lnTo>
                  <a:pt x="3924236" y="0"/>
                </a:lnTo>
                <a:cubicBezTo>
                  <a:pt x="6091618" y="0"/>
                  <a:pt x="7848536" y="105536"/>
                  <a:pt x="7848663" y="235711"/>
                </a:cubicBezTo>
                <a:cubicBezTo>
                  <a:pt x="7848663" y="235711"/>
                  <a:pt x="7848663" y="235711"/>
                  <a:pt x="7848663" y="235711"/>
                </a:cubicBezTo>
                <a:lnTo>
                  <a:pt x="7848663" y="235711"/>
                </a:lnTo>
                <a:cubicBezTo>
                  <a:pt x="7848663" y="365886"/>
                  <a:pt x="6091618" y="471297"/>
                  <a:pt x="3924363" y="471297"/>
                </a:cubicBezTo>
                <a:cubicBezTo>
                  <a:pt x="3924363" y="471297"/>
                  <a:pt x="3924363" y="471297"/>
                  <a:pt x="3924363" y="471297"/>
                </a:cubicBezTo>
                <a:lnTo>
                  <a:pt x="3924363" y="471297"/>
                </a:lnTo>
                <a:cubicBezTo>
                  <a:pt x="1756981" y="471297"/>
                  <a:pt x="0" y="365886"/>
                  <a:pt x="0" y="235711"/>
                </a:cubicBezTo>
                <a:cubicBezTo>
                  <a:pt x="0" y="235711"/>
                  <a:pt x="0" y="235711"/>
                  <a:pt x="0" y="235711"/>
                </a:cubicBezTo>
              </a:path>
            </a:pathLst>
          </a:custGeom>
          <a:solidFill>
            <a:srgbClr val="7698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" name="Freeform 3"/>
          <p:cNvSpPr/>
          <p:nvPr/>
        </p:nvSpPr>
        <p:spPr>
          <a:xfrm>
            <a:off x="592762" y="2370690"/>
            <a:ext cx="7704409" cy="474362"/>
          </a:xfrm>
          <a:custGeom>
            <a:avLst/>
            <a:gdLst>
              <a:gd name="connsiteX0" fmla="*/ 6350 w 7861363"/>
              <a:gd name="connsiteY0" fmla="*/ 242061 h 483997"/>
              <a:gd name="connsiteX1" fmla="*/ 3930586 w 7861363"/>
              <a:gd name="connsiteY1" fmla="*/ 6350 h 483997"/>
              <a:gd name="connsiteX2" fmla="*/ 3930586 w 7861363"/>
              <a:gd name="connsiteY2" fmla="*/ 6350 h 483997"/>
              <a:gd name="connsiteX3" fmla="*/ 7855013 w 7861363"/>
              <a:gd name="connsiteY3" fmla="*/ 242061 h 483997"/>
              <a:gd name="connsiteX4" fmla="*/ 7855013 w 7861363"/>
              <a:gd name="connsiteY4" fmla="*/ 242061 h 483997"/>
              <a:gd name="connsiteX5" fmla="*/ 7855013 w 7861363"/>
              <a:gd name="connsiteY5" fmla="*/ 242061 h 483997"/>
              <a:gd name="connsiteX6" fmla="*/ 3930713 w 7861363"/>
              <a:gd name="connsiteY6" fmla="*/ 477647 h 483997"/>
              <a:gd name="connsiteX7" fmla="*/ 3930713 w 7861363"/>
              <a:gd name="connsiteY7" fmla="*/ 477647 h 483997"/>
              <a:gd name="connsiteX8" fmla="*/ 3930713 w 7861363"/>
              <a:gd name="connsiteY8" fmla="*/ 477647 h 483997"/>
              <a:gd name="connsiteX9" fmla="*/ 6350 w 7861363"/>
              <a:gd name="connsiteY9" fmla="*/ 242061 h 483997"/>
              <a:gd name="connsiteX10" fmla="*/ 6350 w 7861363"/>
              <a:gd name="connsiteY10" fmla="*/ 242061 h 48399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</a:cxnLst>
            <a:rect l="l" t="t" r="r" b="b"/>
            <a:pathLst>
              <a:path w="7861363" h="483997">
                <a:moveTo>
                  <a:pt x="6350" y="242061"/>
                </a:moveTo>
                <a:cubicBezTo>
                  <a:pt x="6388" y="111886"/>
                  <a:pt x="1763331" y="6350"/>
                  <a:pt x="3930586" y="6350"/>
                </a:cubicBezTo>
                <a:lnTo>
                  <a:pt x="3930586" y="6350"/>
                </a:lnTo>
                <a:cubicBezTo>
                  <a:pt x="6097968" y="6350"/>
                  <a:pt x="7854886" y="111886"/>
                  <a:pt x="7855013" y="242061"/>
                </a:cubicBezTo>
                <a:cubicBezTo>
                  <a:pt x="7855013" y="242061"/>
                  <a:pt x="7855013" y="242061"/>
                  <a:pt x="7855013" y="242061"/>
                </a:cubicBezTo>
                <a:lnTo>
                  <a:pt x="7855013" y="242061"/>
                </a:lnTo>
                <a:cubicBezTo>
                  <a:pt x="7855013" y="372236"/>
                  <a:pt x="6097968" y="477647"/>
                  <a:pt x="3930713" y="477647"/>
                </a:cubicBezTo>
                <a:cubicBezTo>
                  <a:pt x="3930713" y="477647"/>
                  <a:pt x="3930713" y="477647"/>
                  <a:pt x="3930713" y="477647"/>
                </a:cubicBezTo>
                <a:lnTo>
                  <a:pt x="3930713" y="477647"/>
                </a:lnTo>
                <a:cubicBezTo>
                  <a:pt x="1763331" y="477647"/>
                  <a:pt x="6350" y="372236"/>
                  <a:pt x="6350" y="242061"/>
                </a:cubicBezTo>
                <a:cubicBezTo>
                  <a:pt x="6350" y="242061"/>
                  <a:pt x="6350" y="242061"/>
                  <a:pt x="6350" y="242061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" name="Freeform 3"/>
          <p:cNvSpPr/>
          <p:nvPr/>
        </p:nvSpPr>
        <p:spPr>
          <a:xfrm>
            <a:off x="458962" y="3303480"/>
            <a:ext cx="2399113" cy="1100081"/>
          </a:xfrm>
          <a:custGeom>
            <a:avLst/>
            <a:gdLst>
              <a:gd name="connsiteX0" fmla="*/ 0 w 2447988"/>
              <a:gd name="connsiteY0" fmla="*/ 561213 h 1122426"/>
              <a:gd name="connsiteX1" fmla="*/ 1223962 w 2447988"/>
              <a:gd name="connsiteY1" fmla="*/ 0 h 1122426"/>
              <a:gd name="connsiteX2" fmla="*/ 1223962 w 2447988"/>
              <a:gd name="connsiteY2" fmla="*/ 0 h 1122426"/>
              <a:gd name="connsiteX3" fmla="*/ 2447988 w 2447988"/>
              <a:gd name="connsiteY3" fmla="*/ 561213 h 1122426"/>
              <a:gd name="connsiteX4" fmla="*/ 2447988 w 2447988"/>
              <a:gd name="connsiteY4" fmla="*/ 561213 h 1122426"/>
              <a:gd name="connsiteX5" fmla="*/ 2447988 w 2447988"/>
              <a:gd name="connsiteY5" fmla="*/ 561213 h 1122426"/>
              <a:gd name="connsiteX6" fmla="*/ 1223962 w 2447988"/>
              <a:gd name="connsiteY6" fmla="*/ 1122426 h 1122426"/>
              <a:gd name="connsiteX7" fmla="*/ 1223962 w 2447988"/>
              <a:gd name="connsiteY7" fmla="*/ 1122426 h 1122426"/>
              <a:gd name="connsiteX8" fmla="*/ 1223962 w 2447988"/>
              <a:gd name="connsiteY8" fmla="*/ 1122426 h 1122426"/>
              <a:gd name="connsiteX9" fmla="*/ 0 w 2447988"/>
              <a:gd name="connsiteY9" fmla="*/ 561213 h 1122426"/>
              <a:gd name="connsiteX10" fmla="*/ 0 w 2447988"/>
              <a:gd name="connsiteY10" fmla="*/ 561213 h 112242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</a:cxnLst>
            <a:rect l="l" t="t" r="r" b="b"/>
            <a:pathLst>
              <a:path w="2447988" h="1122426">
                <a:moveTo>
                  <a:pt x="0" y="561213"/>
                </a:moveTo>
                <a:cubicBezTo>
                  <a:pt x="0" y="251205"/>
                  <a:pt x="547992" y="0"/>
                  <a:pt x="1223962" y="0"/>
                </a:cubicBezTo>
                <a:lnTo>
                  <a:pt x="1223962" y="0"/>
                </a:lnTo>
                <a:cubicBezTo>
                  <a:pt x="1899983" y="0"/>
                  <a:pt x="2447988" y="251205"/>
                  <a:pt x="2447988" y="561213"/>
                </a:cubicBezTo>
                <a:cubicBezTo>
                  <a:pt x="2447988" y="561213"/>
                  <a:pt x="2447988" y="561213"/>
                  <a:pt x="2447988" y="561213"/>
                </a:cubicBezTo>
                <a:lnTo>
                  <a:pt x="2447988" y="561213"/>
                </a:lnTo>
                <a:cubicBezTo>
                  <a:pt x="2447988" y="871220"/>
                  <a:pt x="1899983" y="1122426"/>
                  <a:pt x="1223962" y="1122426"/>
                </a:cubicBezTo>
                <a:cubicBezTo>
                  <a:pt x="1223962" y="1122426"/>
                  <a:pt x="1223962" y="1122426"/>
                  <a:pt x="1223962" y="1122426"/>
                </a:cubicBezTo>
                <a:lnTo>
                  <a:pt x="1223962" y="1122426"/>
                </a:lnTo>
                <a:cubicBezTo>
                  <a:pt x="547992" y="1122426"/>
                  <a:pt x="0" y="871220"/>
                  <a:pt x="0" y="561213"/>
                </a:cubicBezTo>
                <a:cubicBezTo>
                  <a:pt x="0" y="561213"/>
                  <a:pt x="0" y="561213"/>
                  <a:pt x="0" y="561213"/>
                </a:cubicBezTo>
              </a:path>
            </a:pathLst>
          </a:custGeom>
          <a:solidFill>
            <a:srgbClr val="7698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2" name="Freeform 3"/>
          <p:cNvSpPr/>
          <p:nvPr/>
        </p:nvSpPr>
        <p:spPr>
          <a:xfrm>
            <a:off x="452739" y="3297256"/>
            <a:ext cx="2411560" cy="1112529"/>
          </a:xfrm>
          <a:custGeom>
            <a:avLst/>
            <a:gdLst>
              <a:gd name="connsiteX0" fmla="*/ 6350 w 2460688"/>
              <a:gd name="connsiteY0" fmla="*/ 567563 h 1135126"/>
              <a:gd name="connsiteX1" fmla="*/ 1230312 w 2460688"/>
              <a:gd name="connsiteY1" fmla="*/ 6350 h 1135126"/>
              <a:gd name="connsiteX2" fmla="*/ 1230312 w 2460688"/>
              <a:gd name="connsiteY2" fmla="*/ 6350 h 1135126"/>
              <a:gd name="connsiteX3" fmla="*/ 2454338 w 2460688"/>
              <a:gd name="connsiteY3" fmla="*/ 567563 h 1135126"/>
              <a:gd name="connsiteX4" fmla="*/ 2454338 w 2460688"/>
              <a:gd name="connsiteY4" fmla="*/ 567563 h 1135126"/>
              <a:gd name="connsiteX5" fmla="*/ 2454338 w 2460688"/>
              <a:gd name="connsiteY5" fmla="*/ 567563 h 1135126"/>
              <a:gd name="connsiteX6" fmla="*/ 1230312 w 2460688"/>
              <a:gd name="connsiteY6" fmla="*/ 1128776 h 1135126"/>
              <a:gd name="connsiteX7" fmla="*/ 1230312 w 2460688"/>
              <a:gd name="connsiteY7" fmla="*/ 1128776 h 1135126"/>
              <a:gd name="connsiteX8" fmla="*/ 1230312 w 2460688"/>
              <a:gd name="connsiteY8" fmla="*/ 1128776 h 1135126"/>
              <a:gd name="connsiteX9" fmla="*/ 6350 w 2460688"/>
              <a:gd name="connsiteY9" fmla="*/ 567563 h 1135126"/>
              <a:gd name="connsiteX10" fmla="*/ 6350 w 2460688"/>
              <a:gd name="connsiteY10" fmla="*/ 567563 h 113512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</a:cxnLst>
            <a:rect l="l" t="t" r="r" b="b"/>
            <a:pathLst>
              <a:path w="2460688" h="1135126">
                <a:moveTo>
                  <a:pt x="6350" y="567563"/>
                </a:moveTo>
                <a:cubicBezTo>
                  <a:pt x="6350" y="257555"/>
                  <a:pt x="554342" y="6350"/>
                  <a:pt x="1230312" y="6350"/>
                </a:cubicBezTo>
                <a:lnTo>
                  <a:pt x="1230312" y="6350"/>
                </a:lnTo>
                <a:cubicBezTo>
                  <a:pt x="1906333" y="6350"/>
                  <a:pt x="2454338" y="257555"/>
                  <a:pt x="2454338" y="567563"/>
                </a:cubicBezTo>
                <a:cubicBezTo>
                  <a:pt x="2454338" y="567563"/>
                  <a:pt x="2454338" y="567563"/>
                  <a:pt x="2454338" y="567563"/>
                </a:cubicBezTo>
                <a:lnTo>
                  <a:pt x="2454338" y="567563"/>
                </a:lnTo>
                <a:cubicBezTo>
                  <a:pt x="2454338" y="877570"/>
                  <a:pt x="1906333" y="1128776"/>
                  <a:pt x="1230312" y="1128776"/>
                </a:cubicBezTo>
                <a:cubicBezTo>
                  <a:pt x="1230312" y="1128776"/>
                  <a:pt x="1230312" y="1128776"/>
                  <a:pt x="1230312" y="1128776"/>
                </a:cubicBezTo>
                <a:lnTo>
                  <a:pt x="1230312" y="1128776"/>
                </a:lnTo>
                <a:cubicBezTo>
                  <a:pt x="554342" y="1128776"/>
                  <a:pt x="6350" y="877570"/>
                  <a:pt x="6350" y="567563"/>
                </a:cubicBezTo>
                <a:cubicBezTo>
                  <a:pt x="6350" y="567563"/>
                  <a:pt x="6350" y="567563"/>
                  <a:pt x="6350" y="567563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3" name="Freeform 3"/>
          <p:cNvSpPr/>
          <p:nvPr/>
        </p:nvSpPr>
        <p:spPr>
          <a:xfrm>
            <a:off x="3211182" y="3245974"/>
            <a:ext cx="2399052" cy="1100206"/>
          </a:xfrm>
          <a:custGeom>
            <a:avLst/>
            <a:gdLst>
              <a:gd name="connsiteX0" fmla="*/ 0 w 2447925"/>
              <a:gd name="connsiteY0" fmla="*/ 561340 h 1122553"/>
              <a:gd name="connsiteX1" fmla="*/ 1224026 w 2447925"/>
              <a:gd name="connsiteY1" fmla="*/ 0 h 1122553"/>
              <a:gd name="connsiteX2" fmla="*/ 1224026 w 2447925"/>
              <a:gd name="connsiteY2" fmla="*/ 0 h 1122553"/>
              <a:gd name="connsiteX3" fmla="*/ 2447925 w 2447925"/>
              <a:gd name="connsiteY3" fmla="*/ 561340 h 1122553"/>
              <a:gd name="connsiteX4" fmla="*/ 2447925 w 2447925"/>
              <a:gd name="connsiteY4" fmla="*/ 561340 h 1122553"/>
              <a:gd name="connsiteX5" fmla="*/ 2447925 w 2447925"/>
              <a:gd name="connsiteY5" fmla="*/ 561340 h 1122553"/>
              <a:gd name="connsiteX6" fmla="*/ 1224026 w 2447925"/>
              <a:gd name="connsiteY6" fmla="*/ 1122553 h 1122553"/>
              <a:gd name="connsiteX7" fmla="*/ 1224026 w 2447925"/>
              <a:gd name="connsiteY7" fmla="*/ 1122553 h 1122553"/>
              <a:gd name="connsiteX8" fmla="*/ 1224026 w 2447925"/>
              <a:gd name="connsiteY8" fmla="*/ 1122553 h 1122553"/>
              <a:gd name="connsiteX9" fmla="*/ 0 w 2447925"/>
              <a:gd name="connsiteY9" fmla="*/ 561340 h 1122553"/>
              <a:gd name="connsiteX10" fmla="*/ 0 w 2447925"/>
              <a:gd name="connsiteY10" fmla="*/ 561340 h 112255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</a:cxnLst>
            <a:rect l="l" t="t" r="r" b="b"/>
            <a:pathLst>
              <a:path w="2447925" h="1122553">
                <a:moveTo>
                  <a:pt x="0" y="561340"/>
                </a:moveTo>
                <a:cubicBezTo>
                  <a:pt x="0" y="251333"/>
                  <a:pt x="548004" y="0"/>
                  <a:pt x="1224026" y="0"/>
                </a:cubicBezTo>
                <a:lnTo>
                  <a:pt x="1224026" y="0"/>
                </a:lnTo>
                <a:cubicBezTo>
                  <a:pt x="1899920" y="0"/>
                  <a:pt x="2447925" y="251333"/>
                  <a:pt x="2447925" y="561340"/>
                </a:cubicBezTo>
                <a:cubicBezTo>
                  <a:pt x="2447925" y="561340"/>
                  <a:pt x="2447925" y="561340"/>
                  <a:pt x="2447925" y="561340"/>
                </a:cubicBezTo>
                <a:lnTo>
                  <a:pt x="2447925" y="561340"/>
                </a:lnTo>
                <a:cubicBezTo>
                  <a:pt x="2447925" y="871220"/>
                  <a:pt x="1899920" y="1122553"/>
                  <a:pt x="1224026" y="1122553"/>
                </a:cubicBezTo>
                <a:cubicBezTo>
                  <a:pt x="1224026" y="1122553"/>
                  <a:pt x="1224026" y="1122553"/>
                  <a:pt x="1224026" y="1122553"/>
                </a:cubicBezTo>
                <a:lnTo>
                  <a:pt x="1224026" y="1122553"/>
                </a:lnTo>
                <a:cubicBezTo>
                  <a:pt x="548004" y="1122553"/>
                  <a:pt x="0" y="871220"/>
                  <a:pt x="0" y="561340"/>
                </a:cubicBezTo>
                <a:cubicBezTo>
                  <a:pt x="0" y="561340"/>
                  <a:pt x="0" y="561340"/>
                  <a:pt x="0" y="561340"/>
                </a:cubicBezTo>
              </a:path>
            </a:pathLst>
          </a:custGeom>
          <a:solidFill>
            <a:srgbClr val="7698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4" name="Freeform 3"/>
          <p:cNvSpPr/>
          <p:nvPr/>
        </p:nvSpPr>
        <p:spPr>
          <a:xfrm>
            <a:off x="3204959" y="3239750"/>
            <a:ext cx="2411498" cy="1112653"/>
          </a:xfrm>
          <a:custGeom>
            <a:avLst/>
            <a:gdLst>
              <a:gd name="connsiteX0" fmla="*/ 6350 w 2460625"/>
              <a:gd name="connsiteY0" fmla="*/ 567690 h 1135253"/>
              <a:gd name="connsiteX1" fmla="*/ 1230376 w 2460625"/>
              <a:gd name="connsiteY1" fmla="*/ 6350 h 1135253"/>
              <a:gd name="connsiteX2" fmla="*/ 1230376 w 2460625"/>
              <a:gd name="connsiteY2" fmla="*/ 6350 h 1135253"/>
              <a:gd name="connsiteX3" fmla="*/ 2454275 w 2460625"/>
              <a:gd name="connsiteY3" fmla="*/ 567690 h 1135253"/>
              <a:gd name="connsiteX4" fmla="*/ 2454275 w 2460625"/>
              <a:gd name="connsiteY4" fmla="*/ 567690 h 1135253"/>
              <a:gd name="connsiteX5" fmla="*/ 2454275 w 2460625"/>
              <a:gd name="connsiteY5" fmla="*/ 567690 h 1135253"/>
              <a:gd name="connsiteX6" fmla="*/ 1230376 w 2460625"/>
              <a:gd name="connsiteY6" fmla="*/ 1128903 h 1135253"/>
              <a:gd name="connsiteX7" fmla="*/ 1230376 w 2460625"/>
              <a:gd name="connsiteY7" fmla="*/ 1128903 h 1135253"/>
              <a:gd name="connsiteX8" fmla="*/ 1230376 w 2460625"/>
              <a:gd name="connsiteY8" fmla="*/ 1128903 h 1135253"/>
              <a:gd name="connsiteX9" fmla="*/ 6350 w 2460625"/>
              <a:gd name="connsiteY9" fmla="*/ 567690 h 1135253"/>
              <a:gd name="connsiteX10" fmla="*/ 6350 w 2460625"/>
              <a:gd name="connsiteY10" fmla="*/ 567690 h 113525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</a:cxnLst>
            <a:rect l="l" t="t" r="r" b="b"/>
            <a:pathLst>
              <a:path w="2460625" h="1135253">
                <a:moveTo>
                  <a:pt x="6350" y="567690"/>
                </a:moveTo>
                <a:cubicBezTo>
                  <a:pt x="6350" y="257683"/>
                  <a:pt x="554354" y="6350"/>
                  <a:pt x="1230376" y="6350"/>
                </a:cubicBezTo>
                <a:lnTo>
                  <a:pt x="1230376" y="6350"/>
                </a:lnTo>
                <a:cubicBezTo>
                  <a:pt x="1906270" y="6350"/>
                  <a:pt x="2454275" y="257683"/>
                  <a:pt x="2454275" y="567690"/>
                </a:cubicBezTo>
                <a:cubicBezTo>
                  <a:pt x="2454275" y="567690"/>
                  <a:pt x="2454275" y="567690"/>
                  <a:pt x="2454275" y="567690"/>
                </a:cubicBezTo>
                <a:lnTo>
                  <a:pt x="2454275" y="567690"/>
                </a:lnTo>
                <a:cubicBezTo>
                  <a:pt x="2454275" y="877570"/>
                  <a:pt x="1906270" y="1128903"/>
                  <a:pt x="1230376" y="1128903"/>
                </a:cubicBezTo>
                <a:cubicBezTo>
                  <a:pt x="1230376" y="1128903"/>
                  <a:pt x="1230376" y="1128903"/>
                  <a:pt x="1230376" y="1128903"/>
                </a:cubicBezTo>
                <a:lnTo>
                  <a:pt x="1230376" y="1128903"/>
                </a:lnTo>
                <a:cubicBezTo>
                  <a:pt x="554354" y="1128903"/>
                  <a:pt x="6350" y="877570"/>
                  <a:pt x="6350" y="567690"/>
                </a:cubicBezTo>
                <a:cubicBezTo>
                  <a:pt x="6350" y="567690"/>
                  <a:pt x="6350" y="567690"/>
                  <a:pt x="6350" y="567690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5" name="Freeform 3"/>
          <p:cNvSpPr/>
          <p:nvPr/>
        </p:nvSpPr>
        <p:spPr>
          <a:xfrm>
            <a:off x="6033413" y="3245974"/>
            <a:ext cx="2399052" cy="1215092"/>
          </a:xfrm>
          <a:custGeom>
            <a:avLst/>
            <a:gdLst>
              <a:gd name="connsiteX0" fmla="*/ 0 w 2447925"/>
              <a:gd name="connsiteY0" fmla="*/ 619886 h 1239773"/>
              <a:gd name="connsiteX1" fmla="*/ 1224026 w 2447925"/>
              <a:gd name="connsiteY1" fmla="*/ 0 h 1239773"/>
              <a:gd name="connsiteX2" fmla="*/ 1224026 w 2447925"/>
              <a:gd name="connsiteY2" fmla="*/ 0 h 1239773"/>
              <a:gd name="connsiteX3" fmla="*/ 2447925 w 2447925"/>
              <a:gd name="connsiteY3" fmla="*/ 619886 h 1239773"/>
              <a:gd name="connsiteX4" fmla="*/ 2447925 w 2447925"/>
              <a:gd name="connsiteY4" fmla="*/ 619886 h 1239773"/>
              <a:gd name="connsiteX5" fmla="*/ 2447925 w 2447925"/>
              <a:gd name="connsiteY5" fmla="*/ 619886 h 1239773"/>
              <a:gd name="connsiteX6" fmla="*/ 1224026 w 2447925"/>
              <a:gd name="connsiteY6" fmla="*/ 1239773 h 1239773"/>
              <a:gd name="connsiteX7" fmla="*/ 1224026 w 2447925"/>
              <a:gd name="connsiteY7" fmla="*/ 1239773 h 1239773"/>
              <a:gd name="connsiteX8" fmla="*/ 1224026 w 2447925"/>
              <a:gd name="connsiteY8" fmla="*/ 1239773 h 1239773"/>
              <a:gd name="connsiteX9" fmla="*/ 0 w 2447925"/>
              <a:gd name="connsiteY9" fmla="*/ 619886 h 1239773"/>
              <a:gd name="connsiteX10" fmla="*/ 0 w 2447925"/>
              <a:gd name="connsiteY10" fmla="*/ 619886 h 12397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</a:cxnLst>
            <a:rect l="l" t="t" r="r" b="b"/>
            <a:pathLst>
              <a:path w="2447925" h="1239773">
                <a:moveTo>
                  <a:pt x="0" y="619886"/>
                </a:moveTo>
                <a:cubicBezTo>
                  <a:pt x="0" y="277495"/>
                  <a:pt x="548005" y="0"/>
                  <a:pt x="1224026" y="0"/>
                </a:cubicBezTo>
                <a:lnTo>
                  <a:pt x="1224026" y="0"/>
                </a:lnTo>
                <a:cubicBezTo>
                  <a:pt x="1899919" y="0"/>
                  <a:pt x="2447925" y="277495"/>
                  <a:pt x="2447925" y="619886"/>
                </a:cubicBezTo>
                <a:cubicBezTo>
                  <a:pt x="2447925" y="619886"/>
                  <a:pt x="2447925" y="619886"/>
                  <a:pt x="2447925" y="619886"/>
                </a:cubicBezTo>
                <a:lnTo>
                  <a:pt x="2447925" y="619886"/>
                </a:lnTo>
                <a:cubicBezTo>
                  <a:pt x="2447925" y="962278"/>
                  <a:pt x="1899919" y="1239773"/>
                  <a:pt x="1224026" y="1239773"/>
                </a:cubicBezTo>
                <a:cubicBezTo>
                  <a:pt x="1224026" y="1239773"/>
                  <a:pt x="1224026" y="1239773"/>
                  <a:pt x="1224026" y="1239773"/>
                </a:cubicBezTo>
                <a:lnTo>
                  <a:pt x="1224026" y="1239773"/>
                </a:lnTo>
                <a:cubicBezTo>
                  <a:pt x="548005" y="1239773"/>
                  <a:pt x="0" y="962278"/>
                  <a:pt x="0" y="619886"/>
                </a:cubicBezTo>
                <a:cubicBezTo>
                  <a:pt x="0" y="619886"/>
                  <a:pt x="0" y="619886"/>
                  <a:pt x="0" y="619886"/>
                </a:cubicBezTo>
              </a:path>
            </a:pathLst>
          </a:custGeom>
          <a:solidFill>
            <a:srgbClr val="7698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6" name="Freeform 3"/>
          <p:cNvSpPr/>
          <p:nvPr/>
        </p:nvSpPr>
        <p:spPr>
          <a:xfrm>
            <a:off x="6027190" y="3239750"/>
            <a:ext cx="2411498" cy="1227540"/>
          </a:xfrm>
          <a:custGeom>
            <a:avLst/>
            <a:gdLst>
              <a:gd name="connsiteX0" fmla="*/ 6350 w 2460625"/>
              <a:gd name="connsiteY0" fmla="*/ 626236 h 1252473"/>
              <a:gd name="connsiteX1" fmla="*/ 1230376 w 2460625"/>
              <a:gd name="connsiteY1" fmla="*/ 6350 h 1252473"/>
              <a:gd name="connsiteX2" fmla="*/ 1230376 w 2460625"/>
              <a:gd name="connsiteY2" fmla="*/ 6350 h 1252473"/>
              <a:gd name="connsiteX3" fmla="*/ 2454275 w 2460625"/>
              <a:gd name="connsiteY3" fmla="*/ 626236 h 1252473"/>
              <a:gd name="connsiteX4" fmla="*/ 2454275 w 2460625"/>
              <a:gd name="connsiteY4" fmla="*/ 626236 h 1252473"/>
              <a:gd name="connsiteX5" fmla="*/ 2454275 w 2460625"/>
              <a:gd name="connsiteY5" fmla="*/ 626236 h 1252473"/>
              <a:gd name="connsiteX6" fmla="*/ 1230376 w 2460625"/>
              <a:gd name="connsiteY6" fmla="*/ 1246123 h 1252473"/>
              <a:gd name="connsiteX7" fmla="*/ 1230376 w 2460625"/>
              <a:gd name="connsiteY7" fmla="*/ 1246123 h 1252473"/>
              <a:gd name="connsiteX8" fmla="*/ 1230376 w 2460625"/>
              <a:gd name="connsiteY8" fmla="*/ 1246123 h 1252473"/>
              <a:gd name="connsiteX9" fmla="*/ 6350 w 2460625"/>
              <a:gd name="connsiteY9" fmla="*/ 626236 h 1252473"/>
              <a:gd name="connsiteX10" fmla="*/ 6350 w 2460625"/>
              <a:gd name="connsiteY10" fmla="*/ 626236 h 12524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</a:cxnLst>
            <a:rect l="l" t="t" r="r" b="b"/>
            <a:pathLst>
              <a:path w="2460625" h="1252473">
                <a:moveTo>
                  <a:pt x="6350" y="626236"/>
                </a:moveTo>
                <a:cubicBezTo>
                  <a:pt x="6350" y="283845"/>
                  <a:pt x="554355" y="6350"/>
                  <a:pt x="1230376" y="6350"/>
                </a:cubicBezTo>
                <a:lnTo>
                  <a:pt x="1230376" y="6350"/>
                </a:lnTo>
                <a:cubicBezTo>
                  <a:pt x="1906269" y="6350"/>
                  <a:pt x="2454275" y="283845"/>
                  <a:pt x="2454275" y="626236"/>
                </a:cubicBezTo>
                <a:cubicBezTo>
                  <a:pt x="2454275" y="626236"/>
                  <a:pt x="2454275" y="626236"/>
                  <a:pt x="2454275" y="626236"/>
                </a:cubicBezTo>
                <a:lnTo>
                  <a:pt x="2454275" y="626236"/>
                </a:lnTo>
                <a:cubicBezTo>
                  <a:pt x="2454275" y="968628"/>
                  <a:pt x="1906269" y="1246123"/>
                  <a:pt x="1230376" y="1246123"/>
                </a:cubicBezTo>
                <a:cubicBezTo>
                  <a:pt x="1230376" y="1246123"/>
                  <a:pt x="1230376" y="1246123"/>
                  <a:pt x="1230376" y="1246123"/>
                </a:cubicBezTo>
                <a:lnTo>
                  <a:pt x="1230376" y="1246123"/>
                </a:lnTo>
                <a:cubicBezTo>
                  <a:pt x="554355" y="1246123"/>
                  <a:pt x="6350" y="968628"/>
                  <a:pt x="6350" y="626236"/>
                </a:cubicBezTo>
                <a:cubicBezTo>
                  <a:pt x="6350" y="626236"/>
                  <a:pt x="6350" y="626236"/>
                  <a:pt x="6350" y="626236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7" name="Freeform 3"/>
          <p:cNvSpPr/>
          <p:nvPr/>
        </p:nvSpPr>
        <p:spPr>
          <a:xfrm>
            <a:off x="2010100" y="4519694"/>
            <a:ext cx="4939618" cy="463408"/>
          </a:xfrm>
          <a:custGeom>
            <a:avLst/>
            <a:gdLst>
              <a:gd name="connsiteX0" fmla="*/ 0 w 5040248"/>
              <a:gd name="connsiteY0" fmla="*/ 236347 h 472821"/>
              <a:gd name="connsiteX1" fmla="*/ 2520188 w 5040248"/>
              <a:gd name="connsiteY1" fmla="*/ 0 h 472821"/>
              <a:gd name="connsiteX2" fmla="*/ 2520188 w 5040248"/>
              <a:gd name="connsiteY2" fmla="*/ 0 h 472821"/>
              <a:gd name="connsiteX3" fmla="*/ 5040248 w 5040248"/>
              <a:gd name="connsiteY3" fmla="*/ 236347 h 472821"/>
              <a:gd name="connsiteX4" fmla="*/ 5040248 w 5040248"/>
              <a:gd name="connsiteY4" fmla="*/ 236347 h 472821"/>
              <a:gd name="connsiteX5" fmla="*/ 5040248 w 5040248"/>
              <a:gd name="connsiteY5" fmla="*/ 236347 h 472821"/>
              <a:gd name="connsiteX6" fmla="*/ 2520188 w 5040248"/>
              <a:gd name="connsiteY6" fmla="*/ 472821 h 472821"/>
              <a:gd name="connsiteX7" fmla="*/ 2520188 w 5040248"/>
              <a:gd name="connsiteY7" fmla="*/ 472821 h 472821"/>
              <a:gd name="connsiteX8" fmla="*/ 2520188 w 5040248"/>
              <a:gd name="connsiteY8" fmla="*/ 472821 h 472821"/>
              <a:gd name="connsiteX9" fmla="*/ 0 w 5040248"/>
              <a:gd name="connsiteY9" fmla="*/ 236347 h 472821"/>
              <a:gd name="connsiteX10" fmla="*/ 0 w 5040248"/>
              <a:gd name="connsiteY10" fmla="*/ 236347 h 47282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</a:cxnLst>
            <a:rect l="l" t="t" r="r" b="b"/>
            <a:pathLst>
              <a:path w="5040248" h="472821">
                <a:moveTo>
                  <a:pt x="0" y="236347"/>
                </a:moveTo>
                <a:cubicBezTo>
                  <a:pt x="0" y="105918"/>
                  <a:pt x="1128267" y="0"/>
                  <a:pt x="2520188" y="0"/>
                </a:cubicBezTo>
                <a:lnTo>
                  <a:pt x="2520188" y="0"/>
                </a:lnTo>
                <a:cubicBezTo>
                  <a:pt x="3911980" y="0"/>
                  <a:pt x="5040248" y="105918"/>
                  <a:pt x="5040248" y="236347"/>
                </a:cubicBezTo>
                <a:cubicBezTo>
                  <a:pt x="5040248" y="236347"/>
                  <a:pt x="5040248" y="236347"/>
                  <a:pt x="5040248" y="236347"/>
                </a:cubicBezTo>
                <a:lnTo>
                  <a:pt x="5040248" y="236347"/>
                </a:lnTo>
                <a:cubicBezTo>
                  <a:pt x="5040248" y="366903"/>
                  <a:pt x="3911980" y="472821"/>
                  <a:pt x="2520188" y="472821"/>
                </a:cubicBezTo>
                <a:cubicBezTo>
                  <a:pt x="2520188" y="472821"/>
                  <a:pt x="2520188" y="472821"/>
                  <a:pt x="2520188" y="472821"/>
                </a:cubicBezTo>
                <a:lnTo>
                  <a:pt x="2520188" y="472821"/>
                </a:lnTo>
                <a:cubicBezTo>
                  <a:pt x="1128267" y="472821"/>
                  <a:pt x="0" y="366903"/>
                  <a:pt x="0" y="236347"/>
                </a:cubicBezTo>
                <a:cubicBezTo>
                  <a:pt x="0" y="236347"/>
                  <a:pt x="0" y="236347"/>
                  <a:pt x="0" y="236347"/>
                </a:cubicBezTo>
              </a:path>
            </a:pathLst>
          </a:custGeom>
          <a:solidFill>
            <a:srgbClr val="DADADA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8" name="Freeform 3"/>
          <p:cNvSpPr/>
          <p:nvPr/>
        </p:nvSpPr>
        <p:spPr>
          <a:xfrm>
            <a:off x="2003877" y="4513470"/>
            <a:ext cx="4952065" cy="475856"/>
          </a:xfrm>
          <a:custGeom>
            <a:avLst/>
            <a:gdLst>
              <a:gd name="connsiteX0" fmla="*/ 6350 w 5052948"/>
              <a:gd name="connsiteY0" fmla="*/ 242697 h 485521"/>
              <a:gd name="connsiteX1" fmla="*/ 2526538 w 5052948"/>
              <a:gd name="connsiteY1" fmla="*/ 6350 h 485521"/>
              <a:gd name="connsiteX2" fmla="*/ 2526538 w 5052948"/>
              <a:gd name="connsiteY2" fmla="*/ 6350 h 485521"/>
              <a:gd name="connsiteX3" fmla="*/ 5046598 w 5052948"/>
              <a:gd name="connsiteY3" fmla="*/ 242697 h 485521"/>
              <a:gd name="connsiteX4" fmla="*/ 5046598 w 5052948"/>
              <a:gd name="connsiteY4" fmla="*/ 242697 h 485521"/>
              <a:gd name="connsiteX5" fmla="*/ 5046598 w 5052948"/>
              <a:gd name="connsiteY5" fmla="*/ 242697 h 485521"/>
              <a:gd name="connsiteX6" fmla="*/ 2526538 w 5052948"/>
              <a:gd name="connsiteY6" fmla="*/ 479171 h 485521"/>
              <a:gd name="connsiteX7" fmla="*/ 2526538 w 5052948"/>
              <a:gd name="connsiteY7" fmla="*/ 479171 h 485521"/>
              <a:gd name="connsiteX8" fmla="*/ 2526538 w 5052948"/>
              <a:gd name="connsiteY8" fmla="*/ 479171 h 485521"/>
              <a:gd name="connsiteX9" fmla="*/ 6350 w 5052948"/>
              <a:gd name="connsiteY9" fmla="*/ 242697 h 485521"/>
              <a:gd name="connsiteX10" fmla="*/ 6350 w 5052948"/>
              <a:gd name="connsiteY10" fmla="*/ 242697 h 48552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</a:cxnLst>
            <a:rect l="l" t="t" r="r" b="b"/>
            <a:pathLst>
              <a:path w="5052948" h="485521">
                <a:moveTo>
                  <a:pt x="6350" y="242697"/>
                </a:moveTo>
                <a:cubicBezTo>
                  <a:pt x="6350" y="112268"/>
                  <a:pt x="1134617" y="6350"/>
                  <a:pt x="2526538" y="6350"/>
                </a:cubicBezTo>
                <a:lnTo>
                  <a:pt x="2526538" y="6350"/>
                </a:lnTo>
                <a:cubicBezTo>
                  <a:pt x="3918330" y="6350"/>
                  <a:pt x="5046598" y="112268"/>
                  <a:pt x="5046598" y="242697"/>
                </a:cubicBezTo>
                <a:cubicBezTo>
                  <a:pt x="5046598" y="242697"/>
                  <a:pt x="5046598" y="242697"/>
                  <a:pt x="5046598" y="242697"/>
                </a:cubicBezTo>
                <a:lnTo>
                  <a:pt x="5046598" y="242697"/>
                </a:lnTo>
                <a:cubicBezTo>
                  <a:pt x="5046598" y="373253"/>
                  <a:pt x="3918330" y="479171"/>
                  <a:pt x="2526538" y="479171"/>
                </a:cubicBezTo>
                <a:cubicBezTo>
                  <a:pt x="2526538" y="479171"/>
                  <a:pt x="2526538" y="479171"/>
                  <a:pt x="2526538" y="479171"/>
                </a:cubicBezTo>
                <a:lnTo>
                  <a:pt x="2526538" y="479171"/>
                </a:lnTo>
                <a:cubicBezTo>
                  <a:pt x="1134617" y="479171"/>
                  <a:pt x="6350" y="373253"/>
                  <a:pt x="6350" y="242697"/>
                </a:cubicBezTo>
                <a:cubicBezTo>
                  <a:pt x="6350" y="242697"/>
                  <a:pt x="6350" y="242697"/>
                  <a:pt x="6350" y="242697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9" name="Freeform 3"/>
          <p:cNvSpPr/>
          <p:nvPr/>
        </p:nvSpPr>
        <p:spPr>
          <a:xfrm>
            <a:off x="2010100" y="5156615"/>
            <a:ext cx="4939618" cy="463296"/>
          </a:xfrm>
          <a:custGeom>
            <a:avLst/>
            <a:gdLst>
              <a:gd name="connsiteX0" fmla="*/ 0 w 5040248"/>
              <a:gd name="connsiteY0" fmla="*/ 236347 h 472706"/>
              <a:gd name="connsiteX1" fmla="*/ 2520188 w 5040248"/>
              <a:gd name="connsiteY1" fmla="*/ 0 h 472706"/>
              <a:gd name="connsiteX2" fmla="*/ 2520188 w 5040248"/>
              <a:gd name="connsiteY2" fmla="*/ 0 h 472706"/>
              <a:gd name="connsiteX3" fmla="*/ 5040248 w 5040248"/>
              <a:gd name="connsiteY3" fmla="*/ 236347 h 472706"/>
              <a:gd name="connsiteX4" fmla="*/ 5040248 w 5040248"/>
              <a:gd name="connsiteY4" fmla="*/ 236347 h 472706"/>
              <a:gd name="connsiteX5" fmla="*/ 5040248 w 5040248"/>
              <a:gd name="connsiteY5" fmla="*/ 236347 h 472706"/>
              <a:gd name="connsiteX6" fmla="*/ 2520188 w 5040248"/>
              <a:gd name="connsiteY6" fmla="*/ 472706 h 472706"/>
              <a:gd name="connsiteX7" fmla="*/ 2520188 w 5040248"/>
              <a:gd name="connsiteY7" fmla="*/ 472706 h 472706"/>
              <a:gd name="connsiteX8" fmla="*/ 2520188 w 5040248"/>
              <a:gd name="connsiteY8" fmla="*/ 472706 h 472706"/>
              <a:gd name="connsiteX9" fmla="*/ 0 w 5040248"/>
              <a:gd name="connsiteY9" fmla="*/ 236347 h 472706"/>
              <a:gd name="connsiteX10" fmla="*/ 0 w 5040248"/>
              <a:gd name="connsiteY10" fmla="*/ 236347 h 47270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</a:cxnLst>
            <a:rect l="l" t="t" r="r" b="b"/>
            <a:pathLst>
              <a:path w="5040248" h="472706">
                <a:moveTo>
                  <a:pt x="0" y="236347"/>
                </a:moveTo>
                <a:cubicBezTo>
                  <a:pt x="0" y="105790"/>
                  <a:pt x="1128267" y="0"/>
                  <a:pt x="2520188" y="0"/>
                </a:cubicBezTo>
                <a:lnTo>
                  <a:pt x="2520188" y="0"/>
                </a:lnTo>
                <a:cubicBezTo>
                  <a:pt x="3911980" y="0"/>
                  <a:pt x="5040248" y="105790"/>
                  <a:pt x="5040248" y="236347"/>
                </a:cubicBezTo>
                <a:cubicBezTo>
                  <a:pt x="5040248" y="236347"/>
                  <a:pt x="5040248" y="236347"/>
                  <a:pt x="5040248" y="236347"/>
                </a:cubicBezTo>
                <a:lnTo>
                  <a:pt x="5040248" y="236347"/>
                </a:lnTo>
                <a:cubicBezTo>
                  <a:pt x="5040248" y="366890"/>
                  <a:pt x="3911980" y="472706"/>
                  <a:pt x="2520188" y="472706"/>
                </a:cubicBezTo>
                <a:cubicBezTo>
                  <a:pt x="2520188" y="472706"/>
                  <a:pt x="2520188" y="472706"/>
                  <a:pt x="2520188" y="472706"/>
                </a:cubicBezTo>
                <a:lnTo>
                  <a:pt x="2520188" y="472706"/>
                </a:lnTo>
                <a:cubicBezTo>
                  <a:pt x="1128267" y="472706"/>
                  <a:pt x="0" y="366890"/>
                  <a:pt x="0" y="236347"/>
                </a:cubicBezTo>
                <a:cubicBezTo>
                  <a:pt x="0" y="236347"/>
                  <a:pt x="0" y="236347"/>
                  <a:pt x="0" y="236347"/>
                </a:cubicBezTo>
              </a:path>
            </a:pathLst>
          </a:custGeom>
          <a:solidFill>
            <a:srgbClr val="DADADA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0" name="Freeform 3"/>
          <p:cNvSpPr/>
          <p:nvPr/>
        </p:nvSpPr>
        <p:spPr>
          <a:xfrm>
            <a:off x="2003877" y="5150391"/>
            <a:ext cx="4952065" cy="475743"/>
          </a:xfrm>
          <a:custGeom>
            <a:avLst/>
            <a:gdLst>
              <a:gd name="connsiteX0" fmla="*/ 6350 w 5052948"/>
              <a:gd name="connsiteY0" fmla="*/ 242697 h 485406"/>
              <a:gd name="connsiteX1" fmla="*/ 2526538 w 5052948"/>
              <a:gd name="connsiteY1" fmla="*/ 6350 h 485406"/>
              <a:gd name="connsiteX2" fmla="*/ 2526538 w 5052948"/>
              <a:gd name="connsiteY2" fmla="*/ 6350 h 485406"/>
              <a:gd name="connsiteX3" fmla="*/ 5046598 w 5052948"/>
              <a:gd name="connsiteY3" fmla="*/ 242697 h 485406"/>
              <a:gd name="connsiteX4" fmla="*/ 5046598 w 5052948"/>
              <a:gd name="connsiteY4" fmla="*/ 242697 h 485406"/>
              <a:gd name="connsiteX5" fmla="*/ 5046598 w 5052948"/>
              <a:gd name="connsiteY5" fmla="*/ 242697 h 485406"/>
              <a:gd name="connsiteX6" fmla="*/ 2526538 w 5052948"/>
              <a:gd name="connsiteY6" fmla="*/ 479056 h 485406"/>
              <a:gd name="connsiteX7" fmla="*/ 2526538 w 5052948"/>
              <a:gd name="connsiteY7" fmla="*/ 479056 h 485406"/>
              <a:gd name="connsiteX8" fmla="*/ 2526538 w 5052948"/>
              <a:gd name="connsiteY8" fmla="*/ 479056 h 485406"/>
              <a:gd name="connsiteX9" fmla="*/ 6350 w 5052948"/>
              <a:gd name="connsiteY9" fmla="*/ 242697 h 485406"/>
              <a:gd name="connsiteX10" fmla="*/ 6350 w 5052948"/>
              <a:gd name="connsiteY10" fmla="*/ 242697 h 48540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</a:cxnLst>
            <a:rect l="l" t="t" r="r" b="b"/>
            <a:pathLst>
              <a:path w="5052948" h="485406">
                <a:moveTo>
                  <a:pt x="6350" y="242697"/>
                </a:moveTo>
                <a:cubicBezTo>
                  <a:pt x="6350" y="112140"/>
                  <a:pt x="1134617" y="6350"/>
                  <a:pt x="2526538" y="6350"/>
                </a:cubicBezTo>
                <a:lnTo>
                  <a:pt x="2526538" y="6350"/>
                </a:lnTo>
                <a:cubicBezTo>
                  <a:pt x="3918330" y="6350"/>
                  <a:pt x="5046598" y="112140"/>
                  <a:pt x="5046598" y="242697"/>
                </a:cubicBezTo>
                <a:cubicBezTo>
                  <a:pt x="5046598" y="242697"/>
                  <a:pt x="5046598" y="242697"/>
                  <a:pt x="5046598" y="242697"/>
                </a:cubicBezTo>
                <a:lnTo>
                  <a:pt x="5046598" y="242697"/>
                </a:lnTo>
                <a:cubicBezTo>
                  <a:pt x="5046598" y="373240"/>
                  <a:pt x="3918330" y="479056"/>
                  <a:pt x="2526538" y="479056"/>
                </a:cubicBezTo>
                <a:cubicBezTo>
                  <a:pt x="2526538" y="479056"/>
                  <a:pt x="2526538" y="479056"/>
                  <a:pt x="2526538" y="479056"/>
                </a:cubicBezTo>
                <a:lnTo>
                  <a:pt x="2526538" y="479056"/>
                </a:lnTo>
                <a:cubicBezTo>
                  <a:pt x="1134617" y="479056"/>
                  <a:pt x="6350" y="373240"/>
                  <a:pt x="6350" y="242697"/>
                </a:cubicBezTo>
                <a:cubicBezTo>
                  <a:pt x="6350" y="242697"/>
                  <a:pt x="6350" y="242697"/>
                  <a:pt x="6350" y="242697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356254" y="1618133"/>
            <a:ext cx="99572" cy="248944"/>
          </a:xfrm>
          <a:prstGeom prst="rect">
            <a:avLst/>
          </a:prstGeom>
          <a:noFill/>
        </p:spPr>
      </p:pic>
      <p:pic>
        <p:nvPicPr>
          <p:cNvPr id="2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356254" y="2128467"/>
            <a:ext cx="99572" cy="261391"/>
          </a:xfrm>
          <a:prstGeom prst="rect">
            <a:avLst/>
          </a:prstGeom>
          <a:noFill/>
        </p:spPr>
      </p:pic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468680" y="2825509"/>
            <a:ext cx="5812488" cy="485440"/>
          </a:xfrm>
          <a:prstGeom prst="rect">
            <a:avLst/>
          </a:prstGeom>
          <a:noFill/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352378" y="4269381"/>
            <a:ext cx="398286" cy="336074"/>
          </a:xfrm>
          <a:prstGeom prst="rect">
            <a:avLst/>
          </a:prstGeom>
          <a:noFill/>
        </p:spPr>
      </p:pic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356254" y="4331617"/>
            <a:ext cx="99572" cy="199155"/>
          </a:xfrm>
          <a:prstGeom prst="rect">
            <a:avLst/>
          </a:prstGeom>
          <a:noFill/>
        </p:spPr>
      </p:pic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874720" y="4207145"/>
            <a:ext cx="385840" cy="323627"/>
          </a:xfrm>
          <a:prstGeom prst="rect">
            <a:avLst/>
          </a:prstGeom>
          <a:noFill/>
        </p:spPr>
      </p:pic>
      <p:pic>
        <p:nvPicPr>
          <p:cNvPr id="28" name="Picture 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356254" y="4966423"/>
            <a:ext cx="99572" cy="236496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24</a:t>
            </a:r>
          </a:p>
        </p:txBody>
      </p:sp>
      <p:sp>
        <p:nvSpPr>
          <p:cNvPr id="30" name="TextBox 1"/>
          <p:cNvSpPr txBox="1"/>
          <p:nvPr/>
        </p:nvSpPr>
        <p:spPr>
          <a:xfrm>
            <a:off x="547644" y="597465"/>
            <a:ext cx="5319085" cy="236639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62230" algn="l"/>
                <a:tab pos="2538984" algn="l"/>
                <a:tab pos="2850134" algn="l"/>
                <a:tab pos="3123946" algn="l"/>
                <a:tab pos="3310636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рядо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тверждения</a:t>
            </a:r>
          </a:p>
          <a:p>
            <a:pPr>
              <a:lnSpc>
                <a:spcPts val="2058"/>
              </a:lnSpc>
              <a:tabLst>
                <a:tab pos="62230" algn="l"/>
                <a:tab pos="2538984" algn="l"/>
                <a:tab pos="2850134" algn="l"/>
                <a:tab pos="3123946" algn="l"/>
                <a:tab pos="33106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254"/>
              </a:lnSpc>
              <a:tabLst>
                <a:tab pos="62230" algn="l"/>
                <a:tab pos="2538984" algn="l"/>
                <a:tab pos="2850134" algn="l"/>
                <a:tab pos="3123946" algn="l"/>
                <a:tab pos="3310636" algn="l"/>
              </a:tabLst>
            </a:pPr>
            <a:r>
              <a:rPr lang="en-US" altLang="zh-CN" dirty="0" smtClean="0"/>
              <a:t>			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Метод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зработки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058"/>
              </a:lnSpc>
              <a:tabLst>
                <a:tab pos="62230" algn="l"/>
                <a:tab pos="2538984" algn="l"/>
                <a:tab pos="2850134" algn="l"/>
                <a:tab pos="3123946" algn="l"/>
                <a:tab pos="3310636" algn="l"/>
              </a:tabLst>
            </a:pPr>
            <a:r>
              <a:rPr lang="en-US" altLang="zh-CN" dirty="0" smtClean="0"/>
              <a:t>		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пределе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идо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960"/>
              </a:lnSpc>
              <a:tabLst>
                <a:tab pos="62230" algn="l"/>
                <a:tab pos="2538984" algn="l"/>
                <a:tab pos="2850134" algn="l"/>
                <a:tab pos="3123946" algn="l"/>
                <a:tab pos="3310636" algn="l"/>
              </a:tabLst>
            </a:pPr>
            <a:r>
              <a:rPr lang="en-US" altLang="zh-CN" dirty="0" smtClean="0"/>
              <a:t>		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Формирование</a:t>
            </a:r>
            <a:r>
              <a:rPr lang="ru-RU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массив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нформации</a:t>
            </a:r>
          </a:p>
          <a:p>
            <a:pPr>
              <a:lnSpc>
                <a:spcPts val="1568"/>
              </a:lnSpc>
              <a:tabLst>
                <a:tab pos="62230" algn="l"/>
                <a:tab pos="2538984" algn="l"/>
                <a:tab pos="2850134" algn="l"/>
                <a:tab pos="3123946" algn="l"/>
                <a:tab pos="3310636" algn="l"/>
              </a:tabLst>
            </a:pPr>
            <a:r>
              <a:rPr lang="en-US" altLang="zh-CN" dirty="0" smtClean="0"/>
              <a:t>				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дл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зработки</a:t>
            </a:r>
          </a:p>
        </p:txBody>
      </p:sp>
      <p:sp>
        <p:nvSpPr>
          <p:cNvPr id="31" name="TextBox 1"/>
          <p:cNvSpPr txBox="1"/>
          <p:nvPr/>
        </p:nvSpPr>
        <p:spPr>
          <a:xfrm>
            <a:off x="572536" y="3559892"/>
            <a:ext cx="2180084" cy="660797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568"/>
              </a:lnSpc>
              <a:tabLst>
                <a:tab pos="398272" algn="l"/>
                <a:tab pos="597408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бор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нформации</a:t>
            </a:r>
          </a:p>
          <a:p>
            <a:pPr>
              <a:lnSpc>
                <a:spcPts val="1568"/>
              </a:lnSpc>
              <a:tabLst>
                <a:tab pos="398272" algn="l"/>
                <a:tab pos="597408" algn="l"/>
              </a:tabLst>
            </a:pP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данны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татистической</a:t>
            </a:r>
          </a:p>
          <a:p>
            <a:pPr>
              <a:lnSpc>
                <a:spcPts val="1568"/>
              </a:lnSpc>
              <a:tabLst>
                <a:tab pos="398272" algn="l"/>
                <a:tab pos="597408" algn="l"/>
              </a:tabLst>
            </a:pPr>
            <a:r>
              <a:rPr lang="en-US" altLang="zh-CN" dirty="0" smtClean="0"/>
              <a:t>	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тчетности</a:t>
            </a:r>
          </a:p>
        </p:txBody>
      </p:sp>
      <p:sp>
        <p:nvSpPr>
          <p:cNvPr id="1024" name="TextBox 1"/>
          <p:cNvSpPr txBox="1"/>
          <p:nvPr/>
        </p:nvSpPr>
        <p:spPr>
          <a:xfrm>
            <a:off x="6322792" y="3373184"/>
            <a:ext cx="1872307" cy="1071165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568"/>
              </a:lnSpc>
              <a:tabLst>
                <a:tab pos="224028" algn="l"/>
                <a:tab pos="236474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бор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нформации</a:t>
            </a:r>
          </a:p>
          <a:p>
            <a:pPr>
              <a:lnSpc>
                <a:spcPts val="1568"/>
              </a:lnSpc>
              <a:tabLst>
                <a:tab pos="224028" algn="l"/>
                <a:tab pos="236474" algn="l"/>
              </a:tabLst>
            </a:pP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снов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фотографий,</a:t>
            </a:r>
          </a:p>
          <a:p>
            <a:pPr>
              <a:lnSpc>
                <a:spcPts val="1568"/>
              </a:lnSpc>
              <a:tabLst>
                <a:tab pos="224028" algn="l"/>
                <a:tab pos="236474" algn="l"/>
              </a:tabLst>
            </a:pPr>
            <a:r>
              <a:rPr lang="en-US" altLang="zh-CN" dirty="0" smtClean="0"/>
              <a:t>	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амофотографий</a:t>
            </a:r>
          </a:p>
          <a:p>
            <a:pPr>
              <a:lnSpc>
                <a:spcPts val="1568"/>
              </a:lnSpc>
              <a:tabLst>
                <a:tab pos="224028" algn="l"/>
                <a:tab pos="236474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че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ремени,</a:t>
            </a:r>
          </a:p>
          <a:p>
            <a:pPr>
              <a:lnSpc>
                <a:spcPts val="1568"/>
              </a:lnSpc>
              <a:tabLst>
                <a:tab pos="224028" algn="l"/>
                <a:tab pos="236474" algn="l"/>
              </a:tabLst>
            </a:pP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моментн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блюдений</a:t>
            </a:r>
          </a:p>
        </p:txBody>
      </p:sp>
      <p:sp>
        <p:nvSpPr>
          <p:cNvPr id="1025" name="TextBox 1"/>
          <p:cNvSpPr txBox="1"/>
          <p:nvPr/>
        </p:nvSpPr>
        <p:spPr>
          <a:xfrm>
            <a:off x="2825342" y="3559892"/>
            <a:ext cx="3356688" cy="207143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568"/>
              </a:lnSpc>
              <a:tabLst>
                <a:tab pos="398272" algn="l"/>
                <a:tab pos="485394" algn="l"/>
                <a:tab pos="896112" algn="l"/>
                <a:tab pos="1306830" algn="l"/>
              </a:tabLst>
            </a:pPr>
            <a:r>
              <a:rPr lang="en-US" altLang="zh-CN" dirty="0" smtClean="0"/>
              <a:t>		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бор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нформации</a:t>
            </a:r>
          </a:p>
          <a:p>
            <a:pPr>
              <a:lnSpc>
                <a:spcPts val="1568"/>
              </a:lnSpc>
              <a:tabLst>
                <a:tab pos="398272" algn="l"/>
                <a:tab pos="485394" algn="l"/>
                <a:tab pos="896112" algn="l"/>
                <a:tab pos="1306830" algn="l"/>
              </a:tabLst>
            </a:pPr>
            <a:r>
              <a:rPr lang="en-US" altLang="zh-CN" dirty="0" smtClean="0"/>
              <a:t>	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езультата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экспертной</a:t>
            </a:r>
          </a:p>
          <a:p>
            <a:pPr>
              <a:lnSpc>
                <a:spcPts val="1568"/>
              </a:lnSpc>
              <a:tabLst>
                <a:tab pos="398272" algn="l"/>
                <a:tab pos="485394" algn="l"/>
                <a:tab pos="896112" algn="l"/>
                <a:tab pos="1306830" algn="l"/>
              </a:tabLst>
            </a:pPr>
            <a:r>
              <a:rPr lang="en-US" altLang="zh-CN" dirty="0" smtClean="0"/>
              <a:t>			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ценки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862"/>
              </a:lnSpc>
              <a:tabLst>
                <a:tab pos="398272" algn="l"/>
                <a:tab pos="485394" algn="l"/>
                <a:tab pos="896112" algn="l"/>
                <a:tab pos="1306830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бработк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сходн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нформации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058"/>
              </a:lnSpc>
              <a:tabLst>
                <a:tab pos="398272" algn="l"/>
                <a:tab pos="485394" algn="l"/>
                <a:tab pos="896112" algn="l"/>
                <a:tab pos="1306830" algn="l"/>
              </a:tabLst>
            </a:pP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Апробация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доработк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чето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замечаний</a:t>
            </a:r>
          </a:p>
        </p:txBody>
      </p:sp>
    </p:spTree>
    <p:extLst>
      <p:ext uri="{BB962C8B-B14F-4D97-AF65-F5344CB8AC3E}">
        <p14:creationId xmlns:p14="http://schemas.microsoft.com/office/powerpoint/2010/main" val="1480880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98985" y="1103193"/>
            <a:ext cx="7831985" cy="4656736"/>
          </a:xfrm>
          <a:custGeom>
            <a:avLst/>
            <a:gdLst>
              <a:gd name="connsiteX0" fmla="*/ 0 w 7991538"/>
              <a:gd name="connsiteY0" fmla="*/ 791844 h 4751323"/>
              <a:gd name="connsiteX1" fmla="*/ 791908 w 7991538"/>
              <a:gd name="connsiteY1" fmla="*/ 0 h 4751323"/>
              <a:gd name="connsiteX2" fmla="*/ 791908 w 7991538"/>
              <a:gd name="connsiteY2" fmla="*/ 0 h 4751323"/>
              <a:gd name="connsiteX3" fmla="*/ 791908 w 7991538"/>
              <a:gd name="connsiteY3" fmla="*/ 0 h 4751323"/>
              <a:gd name="connsiteX4" fmla="*/ 7199566 w 7991538"/>
              <a:gd name="connsiteY4" fmla="*/ 0 h 4751323"/>
              <a:gd name="connsiteX5" fmla="*/ 7199566 w 7991538"/>
              <a:gd name="connsiteY5" fmla="*/ 0 h 4751323"/>
              <a:gd name="connsiteX6" fmla="*/ 7991411 w 7991538"/>
              <a:gd name="connsiteY6" fmla="*/ 791844 h 4751323"/>
              <a:gd name="connsiteX7" fmla="*/ 7991411 w 7991538"/>
              <a:gd name="connsiteY7" fmla="*/ 791844 h 4751323"/>
              <a:gd name="connsiteX8" fmla="*/ 7991411 w 7991538"/>
              <a:gd name="connsiteY8" fmla="*/ 791844 h 4751323"/>
              <a:gd name="connsiteX9" fmla="*/ 7991538 w 7991538"/>
              <a:gd name="connsiteY9" fmla="*/ 3959352 h 4751323"/>
              <a:gd name="connsiteX10" fmla="*/ 7991411 w 7991538"/>
              <a:gd name="connsiteY10" fmla="*/ 3959352 h 4751323"/>
              <a:gd name="connsiteX11" fmla="*/ 7199566 w 7991538"/>
              <a:gd name="connsiteY11" fmla="*/ 4751324 h 4751323"/>
              <a:gd name="connsiteX12" fmla="*/ 7199566 w 7991538"/>
              <a:gd name="connsiteY12" fmla="*/ 4751324 h 4751323"/>
              <a:gd name="connsiteX13" fmla="*/ 7199566 w 7991538"/>
              <a:gd name="connsiteY13" fmla="*/ 4751324 h 4751323"/>
              <a:gd name="connsiteX14" fmla="*/ 791908 w 7991538"/>
              <a:gd name="connsiteY14" fmla="*/ 4751324 h 4751323"/>
              <a:gd name="connsiteX15" fmla="*/ 791908 w 7991538"/>
              <a:gd name="connsiteY15" fmla="*/ 4751324 h 4751323"/>
              <a:gd name="connsiteX16" fmla="*/ 0 w 7991538"/>
              <a:gd name="connsiteY16" fmla="*/ 3959352 h 4751323"/>
              <a:gd name="connsiteX17" fmla="*/ 0 w 7991538"/>
              <a:gd name="connsiteY17" fmla="*/ 3959352 h 4751323"/>
              <a:gd name="connsiteX18" fmla="*/ 0 w 7991538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91538" h="4751323">
                <a:moveTo>
                  <a:pt x="0" y="791844"/>
                </a:moveTo>
                <a:cubicBezTo>
                  <a:pt x="0" y="354457"/>
                  <a:pt x="354558" y="0"/>
                  <a:pt x="791908" y="0"/>
                </a:cubicBezTo>
                <a:cubicBezTo>
                  <a:pt x="791908" y="0"/>
                  <a:pt x="791908" y="0"/>
                  <a:pt x="791908" y="0"/>
                </a:cubicBezTo>
                <a:lnTo>
                  <a:pt x="791908" y="0"/>
                </a:lnTo>
                <a:lnTo>
                  <a:pt x="7199566" y="0"/>
                </a:lnTo>
                <a:lnTo>
                  <a:pt x="7199566" y="0"/>
                </a:lnTo>
                <a:cubicBezTo>
                  <a:pt x="7636954" y="0"/>
                  <a:pt x="7991411" y="354457"/>
                  <a:pt x="7991411" y="791844"/>
                </a:cubicBezTo>
                <a:cubicBezTo>
                  <a:pt x="7991411" y="791844"/>
                  <a:pt x="7991411" y="791844"/>
                  <a:pt x="7991411" y="791844"/>
                </a:cubicBezTo>
                <a:lnTo>
                  <a:pt x="7991411" y="791844"/>
                </a:lnTo>
                <a:lnTo>
                  <a:pt x="7991538" y="3959352"/>
                </a:lnTo>
                <a:lnTo>
                  <a:pt x="7991411" y="3959352"/>
                </a:lnTo>
                <a:cubicBezTo>
                  <a:pt x="7991411" y="4396739"/>
                  <a:pt x="7636954" y="4751324"/>
                  <a:pt x="7199566" y="4751324"/>
                </a:cubicBezTo>
                <a:cubicBezTo>
                  <a:pt x="7199566" y="4751324"/>
                  <a:pt x="7199566" y="4751324"/>
                  <a:pt x="7199566" y="4751324"/>
                </a:cubicBezTo>
                <a:lnTo>
                  <a:pt x="7199566" y="4751324"/>
                </a:lnTo>
                <a:lnTo>
                  <a:pt x="791908" y="4751324"/>
                </a:lnTo>
                <a:lnTo>
                  <a:pt x="791908" y="4751324"/>
                </a:lnTo>
                <a:cubicBezTo>
                  <a:pt x="354558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74044" y="1867449"/>
            <a:ext cx="7481804" cy="3599350"/>
          </a:xfrm>
          <a:custGeom>
            <a:avLst/>
            <a:gdLst>
              <a:gd name="connsiteX0" fmla="*/ 0 w 7634223"/>
              <a:gd name="connsiteY0" fmla="*/ 612013 h 3672459"/>
              <a:gd name="connsiteX1" fmla="*/ 612140 w 7634223"/>
              <a:gd name="connsiteY1" fmla="*/ 0 h 3672459"/>
              <a:gd name="connsiteX2" fmla="*/ 612140 w 7634223"/>
              <a:gd name="connsiteY2" fmla="*/ 0 h 3672459"/>
              <a:gd name="connsiteX3" fmla="*/ 612140 w 7634223"/>
              <a:gd name="connsiteY3" fmla="*/ 0 h 3672459"/>
              <a:gd name="connsiteX4" fmla="*/ 7022083 w 7634223"/>
              <a:gd name="connsiteY4" fmla="*/ 0 h 3672459"/>
              <a:gd name="connsiteX5" fmla="*/ 7022083 w 7634223"/>
              <a:gd name="connsiteY5" fmla="*/ 0 h 3672459"/>
              <a:gd name="connsiteX6" fmla="*/ 7634223 w 7634223"/>
              <a:gd name="connsiteY6" fmla="*/ 612013 h 3672459"/>
              <a:gd name="connsiteX7" fmla="*/ 7634223 w 7634223"/>
              <a:gd name="connsiteY7" fmla="*/ 612013 h 3672459"/>
              <a:gd name="connsiteX8" fmla="*/ 7634223 w 7634223"/>
              <a:gd name="connsiteY8" fmla="*/ 612013 h 3672459"/>
              <a:gd name="connsiteX9" fmla="*/ 7634223 w 7634223"/>
              <a:gd name="connsiteY9" fmla="*/ 3060446 h 3672459"/>
              <a:gd name="connsiteX10" fmla="*/ 7634223 w 7634223"/>
              <a:gd name="connsiteY10" fmla="*/ 3060446 h 3672459"/>
              <a:gd name="connsiteX11" fmla="*/ 7022083 w 7634223"/>
              <a:gd name="connsiteY11" fmla="*/ 3672459 h 3672459"/>
              <a:gd name="connsiteX12" fmla="*/ 7022083 w 7634223"/>
              <a:gd name="connsiteY12" fmla="*/ 3672459 h 3672459"/>
              <a:gd name="connsiteX13" fmla="*/ 7022083 w 7634223"/>
              <a:gd name="connsiteY13" fmla="*/ 3672459 h 3672459"/>
              <a:gd name="connsiteX14" fmla="*/ 612140 w 7634223"/>
              <a:gd name="connsiteY14" fmla="*/ 3672459 h 3672459"/>
              <a:gd name="connsiteX15" fmla="*/ 612140 w 7634223"/>
              <a:gd name="connsiteY15" fmla="*/ 3672459 h 3672459"/>
              <a:gd name="connsiteX16" fmla="*/ 0 w 7634223"/>
              <a:gd name="connsiteY16" fmla="*/ 3060446 h 3672459"/>
              <a:gd name="connsiteX17" fmla="*/ 0 w 7634223"/>
              <a:gd name="connsiteY17" fmla="*/ 3060446 h 3672459"/>
              <a:gd name="connsiteX18" fmla="*/ 0 w 76342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634223" h="3672459">
                <a:moveTo>
                  <a:pt x="0" y="612013"/>
                </a:moveTo>
                <a:cubicBezTo>
                  <a:pt x="0" y="273939"/>
                  <a:pt x="274053" y="0"/>
                  <a:pt x="612140" y="0"/>
                </a:cubicBezTo>
                <a:cubicBezTo>
                  <a:pt x="612140" y="0"/>
                  <a:pt x="612140" y="0"/>
                  <a:pt x="612140" y="0"/>
                </a:cubicBezTo>
                <a:lnTo>
                  <a:pt x="612140" y="0"/>
                </a:lnTo>
                <a:lnTo>
                  <a:pt x="7022083" y="0"/>
                </a:lnTo>
                <a:lnTo>
                  <a:pt x="7022083" y="0"/>
                </a:lnTo>
                <a:cubicBezTo>
                  <a:pt x="7360157" y="0"/>
                  <a:pt x="7634223" y="273939"/>
                  <a:pt x="7634223" y="612013"/>
                </a:cubicBezTo>
                <a:cubicBezTo>
                  <a:pt x="7634223" y="612013"/>
                  <a:pt x="7634223" y="612013"/>
                  <a:pt x="7634223" y="612013"/>
                </a:cubicBezTo>
                <a:lnTo>
                  <a:pt x="7634223" y="612013"/>
                </a:lnTo>
                <a:lnTo>
                  <a:pt x="7634223" y="3060446"/>
                </a:lnTo>
                <a:lnTo>
                  <a:pt x="7634223" y="3060446"/>
                </a:lnTo>
                <a:cubicBezTo>
                  <a:pt x="7634223" y="3398520"/>
                  <a:pt x="7360157" y="3672459"/>
                  <a:pt x="7022083" y="3672459"/>
                </a:cubicBezTo>
                <a:cubicBezTo>
                  <a:pt x="7022083" y="3672459"/>
                  <a:pt x="7022083" y="3672459"/>
                  <a:pt x="7022083" y="3672459"/>
                </a:cubicBezTo>
                <a:lnTo>
                  <a:pt x="7022083" y="3672459"/>
                </a:lnTo>
                <a:lnTo>
                  <a:pt x="612140" y="3672459"/>
                </a:lnTo>
                <a:lnTo>
                  <a:pt x="612140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25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547643" y="672147"/>
            <a:ext cx="8098627" cy="44054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62230" algn="l"/>
                <a:tab pos="634746" algn="l"/>
                <a:tab pos="1095248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рядо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 err="1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тверждения</a:t>
            </a:r>
            <a:endParaRPr lang="en-US" altLang="zh-CN" sz="1800" dirty="0">
              <a:solidFill>
                <a:srgbClr val="C82B1A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ts val="2058"/>
              </a:lnSpc>
              <a:tabLst>
                <a:tab pos="62230" algn="l"/>
                <a:tab pos="634746" algn="l"/>
                <a:tab pos="109524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 err="1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 err="1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endParaRPr lang="en-US" altLang="zh-CN" sz="1800" dirty="0">
              <a:solidFill>
                <a:srgbClr val="C82B1A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960"/>
              </a:lnSpc>
              <a:tabLst>
                <a:tab pos="62230" algn="l"/>
                <a:tab pos="634746" algn="l"/>
                <a:tab pos="1095248" algn="l"/>
              </a:tabLst>
            </a:pPr>
            <a:r>
              <a:rPr lang="en-US" altLang="zh-CN" dirty="0" smtClean="0"/>
              <a:t>		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становл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авительств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Ф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1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ябр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002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№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804</a:t>
            </a:r>
          </a:p>
          <a:p>
            <a:pPr>
              <a:lnSpc>
                <a:spcPts val="2254"/>
              </a:lnSpc>
              <a:tabLst>
                <a:tab pos="62230" algn="l"/>
                <a:tab pos="634746" algn="l"/>
                <a:tab pos="1095248" algn="l"/>
              </a:tabLst>
            </a:pPr>
            <a:r>
              <a:rPr lang="en-US" altLang="zh-CN" dirty="0" smtClean="0"/>
              <a:t>		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¨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авила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¨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372"/>
              </a:lnSpc>
              <a:tabLst>
                <a:tab pos="62230" algn="l"/>
                <a:tab pos="634746" algn="l"/>
                <a:tab pos="1095248" algn="l"/>
              </a:tabLst>
            </a:pPr>
            <a:r>
              <a:rPr lang="en-US" altLang="zh-CN" dirty="0" smtClean="0"/>
              <a:t>	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.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стоящи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авила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ределяют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рядок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и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межотраслевых,</a:t>
            </a:r>
          </a:p>
          <a:p>
            <a:pPr>
              <a:lnSpc>
                <a:spcPts val="1372"/>
              </a:lnSpc>
              <a:tabLst>
                <a:tab pos="62230" algn="l"/>
                <a:tab pos="634746" algn="l"/>
                <a:tab pos="1095248" algn="l"/>
              </a:tabLst>
            </a:pPr>
            <a:r>
              <a:rPr lang="en-US" altLang="zh-CN" dirty="0" smtClean="0"/>
              <a:t>	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фессиональных,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ных)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днородных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.</a:t>
            </a:r>
          </a:p>
          <a:p>
            <a:pPr>
              <a:lnSpc>
                <a:spcPts val="1372"/>
              </a:lnSpc>
              <a:tabLst>
                <a:tab pos="62230" algn="l"/>
                <a:tab pos="634746" algn="l"/>
                <a:tab pos="1095248" algn="l"/>
              </a:tabLst>
            </a:pPr>
            <a:r>
              <a:rPr lang="en-US" altLang="zh-CN" dirty="0" smtClean="0"/>
              <a:t>	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.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атываютс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льным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ом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нительной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ласти,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ый</a:t>
            </a:r>
          </a:p>
          <a:p>
            <a:pPr>
              <a:lnSpc>
                <a:spcPts val="1372"/>
              </a:lnSpc>
              <a:tabLst>
                <a:tab pos="62230" algn="l"/>
                <a:tab pos="634746" algn="l"/>
                <a:tab pos="1095248" algn="l"/>
              </a:tabLst>
            </a:pPr>
            <a:r>
              <a:rPr lang="en-US" altLang="zh-CN" dirty="0" smtClean="0"/>
              <a:t>	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озложены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правление,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гулировани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ординаци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еятельност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подотрасли)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кономики</a:t>
            </a:r>
          </a:p>
          <a:p>
            <a:pPr>
              <a:lnSpc>
                <a:spcPts val="1372"/>
              </a:lnSpc>
              <a:tabLst>
                <a:tab pos="62230" algn="l"/>
                <a:tab pos="634746" algn="l"/>
                <a:tab pos="1095248" algn="l"/>
              </a:tabLst>
            </a:pPr>
            <a:r>
              <a:rPr lang="en-US" altLang="zh-CN" dirty="0" smtClean="0"/>
              <a:t>	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дале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менуетс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льный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нительной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ласти).</a:t>
            </a:r>
          </a:p>
          <a:p>
            <a:pPr>
              <a:lnSpc>
                <a:spcPts val="1372"/>
              </a:lnSpc>
              <a:tabLst>
                <a:tab pos="62230" algn="l"/>
                <a:tab pos="634746" algn="l"/>
                <a:tab pos="1095248" algn="l"/>
              </a:tabLst>
            </a:pPr>
            <a:r>
              <a:rPr lang="en-US" altLang="zh-CN" dirty="0" smtClean="0"/>
              <a:t>	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жотраслевы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аютс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инистерством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дравоохранени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циального</a:t>
            </a:r>
          </a:p>
          <a:p>
            <a:pPr>
              <a:lnSpc>
                <a:spcPts val="1372"/>
              </a:lnSpc>
              <a:tabLst>
                <a:tab pos="62230" algn="l"/>
                <a:tab pos="634746" algn="l"/>
                <a:tab pos="1095248" algn="l"/>
              </a:tabLst>
            </a:pPr>
            <a:r>
              <a:rPr lang="en-US" altLang="zh-CN" dirty="0" smtClean="0"/>
              <a:t>	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вити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оссийской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ции.</a:t>
            </a:r>
          </a:p>
          <a:p>
            <a:pPr>
              <a:lnSpc>
                <a:spcPts val="1372"/>
              </a:lnSpc>
              <a:tabLst>
                <a:tab pos="62230" algn="l"/>
                <a:tab pos="634746" algn="l"/>
                <a:tab pos="1095248" algn="l"/>
              </a:tabLst>
            </a:pPr>
            <a:r>
              <a:rPr lang="en-US" altLang="zh-CN" dirty="0" smtClean="0"/>
              <a:t>	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фессиональные,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ны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аютс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льным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ом</a:t>
            </a:r>
          </a:p>
          <a:p>
            <a:pPr>
              <a:lnSpc>
                <a:spcPts val="1372"/>
              </a:lnSpc>
              <a:tabLst>
                <a:tab pos="62230" algn="l"/>
                <a:tab pos="634746" algn="l"/>
                <a:tab pos="1095248" algn="l"/>
              </a:tabLst>
            </a:pPr>
            <a:r>
              <a:rPr lang="en-US" altLang="zh-CN" dirty="0" smtClean="0"/>
              <a:t>	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нительной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ласт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гласованию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инистерством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дравоохранени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циального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вития</a:t>
            </a:r>
          </a:p>
          <a:p>
            <a:pPr>
              <a:lnSpc>
                <a:spcPts val="1372"/>
              </a:lnSpc>
              <a:tabLst>
                <a:tab pos="62230" algn="l"/>
                <a:tab pos="634746" algn="l"/>
                <a:tab pos="1095248" algn="l"/>
              </a:tabLst>
            </a:pPr>
            <a:r>
              <a:rPr lang="en-US" altLang="zh-CN" dirty="0" smtClean="0"/>
              <a:t>	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оссийской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ции.</a:t>
            </a:r>
          </a:p>
          <a:p>
            <a:pPr>
              <a:lnSpc>
                <a:spcPts val="1372"/>
              </a:lnSpc>
              <a:tabLst>
                <a:tab pos="62230" algn="l"/>
                <a:tab pos="634746" algn="l"/>
                <a:tab pos="1095248" algn="l"/>
              </a:tabLst>
            </a:pPr>
            <a:r>
              <a:rPr lang="en-US" altLang="zh-CN" dirty="0" smtClean="0"/>
              <a:t>	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4.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аютс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льным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ом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нительной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ласт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ответстви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</a:p>
          <a:p>
            <a:pPr>
              <a:lnSpc>
                <a:spcPts val="1372"/>
              </a:lnSpc>
              <a:tabLst>
                <a:tab pos="62230" algn="l"/>
                <a:tab pos="634746" algn="l"/>
                <a:tab pos="1095248" algn="l"/>
              </a:tabLst>
            </a:pPr>
            <a:r>
              <a:rPr lang="en-US" altLang="zh-CN" dirty="0" smtClean="0"/>
              <a:t>	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авилам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дготовк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тивных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авовых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ктов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льных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ов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нительной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ласти.</a:t>
            </a:r>
          </a:p>
          <a:p>
            <a:pPr>
              <a:lnSpc>
                <a:spcPts val="1372"/>
              </a:lnSpc>
              <a:tabLst>
                <a:tab pos="62230" algn="l"/>
                <a:tab pos="634746" algn="l"/>
                <a:tab pos="1095248" algn="l"/>
              </a:tabLst>
            </a:pPr>
            <a:r>
              <a:rPr lang="en-US" altLang="zh-CN" dirty="0" smtClean="0"/>
              <a:t>	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5.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отр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лучаях,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усмотренных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конодательством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оссийской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ции,</a:t>
            </a:r>
          </a:p>
          <a:p>
            <a:pPr>
              <a:lnSpc>
                <a:spcPts val="1372"/>
              </a:lnSpc>
              <a:tabLst>
                <a:tab pos="62230" algn="l"/>
                <a:tab pos="634746" algn="l"/>
                <a:tab pos="1095248" algn="l"/>
              </a:tabLst>
            </a:pPr>
            <a:r>
              <a:rPr lang="en-US" altLang="zh-CN" dirty="0" smtClean="0"/>
              <a:t>	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уществляетс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рядке,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ном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х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ия.</a:t>
            </a:r>
          </a:p>
        </p:txBody>
      </p:sp>
    </p:spTree>
    <p:extLst>
      <p:ext uri="{BB962C8B-B14F-4D97-AF65-F5344CB8AC3E}">
        <p14:creationId xmlns:p14="http://schemas.microsoft.com/office/powerpoint/2010/main" val="1996989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1050169" y="1120247"/>
            <a:ext cx="6634015" cy="4446765"/>
          </a:xfrm>
          <a:custGeom>
            <a:avLst/>
            <a:gdLst>
              <a:gd name="connsiteX0" fmla="*/ 0 w 6769163"/>
              <a:gd name="connsiteY0" fmla="*/ 2268601 h 4537087"/>
              <a:gd name="connsiteX1" fmla="*/ 3384613 w 6769163"/>
              <a:gd name="connsiteY1" fmla="*/ 0 h 4537087"/>
              <a:gd name="connsiteX2" fmla="*/ 3384613 w 6769163"/>
              <a:gd name="connsiteY2" fmla="*/ 0 h 4537087"/>
              <a:gd name="connsiteX3" fmla="*/ 6769163 w 6769163"/>
              <a:gd name="connsiteY3" fmla="*/ 2268601 h 4537087"/>
              <a:gd name="connsiteX4" fmla="*/ 6769163 w 6769163"/>
              <a:gd name="connsiteY4" fmla="*/ 2268601 h 4537087"/>
              <a:gd name="connsiteX5" fmla="*/ 6769163 w 6769163"/>
              <a:gd name="connsiteY5" fmla="*/ 2268601 h 4537087"/>
              <a:gd name="connsiteX6" fmla="*/ 3384613 w 6769163"/>
              <a:gd name="connsiteY6" fmla="*/ 4537087 h 4537087"/>
              <a:gd name="connsiteX7" fmla="*/ 3384613 w 6769163"/>
              <a:gd name="connsiteY7" fmla="*/ 4537087 h 4537087"/>
              <a:gd name="connsiteX8" fmla="*/ 3384613 w 6769163"/>
              <a:gd name="connsiteY8" fmla="*/ 4537087 h 4537087"/>
              <a:gd name="connsiteX9" fmla="*/ 0 w 6769163"/>
              <a:gd name="connsiteY9" fmla="*/ 2268601 h 4537087"/>
              <a:gd name="connsiteX10" fmla="*/ 0 w 6769163"/>
              <a:gd name="connsiteY10" fmla="*/ 2268601 h 453708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</a:cxnLst>
            <a:rect l="l" t="t" r="r" b="b"/>
            <a:pathLst>
              <a:path w="6769163" h="4537087">
                <a:moveTo>
                  <a:pt x="0" y="2268601"/>
                </a:moveTo>
                <a:cubicBezTo>
                  <a:pt x="0" y="1015619"/>
                  <a:pt x="1515300" y="0"/>
                  <a:pt x="3384613" y="0"/>
                </a:cubicBezTo>
                <a:lnTo>
                  <a:pt x="3384613" y="0"/>
                </a:lnTo>
                <a:cubicBezTo>
                  <a:pt x="5253799" y="0"/>
                  <a:pt x="6769163" y="1015619"/>
                  <a:pt x="6769163" y="2268601"/>
                </a:cubicBezTo>
                <a:cubicBezTo>
                  <a:pt x="6769163" y="2268601"/>
                  <a:pt x="6769163" y="2268601"/>
                  <a:pt x="6769163" y="2268601"/>
                </a:cubicBezTo>
                <a:lnTo>
                  <a:pt x="6769163" y="2268601"/>
                </a:lnTo>
                <a:cubicBezTo>
                  <a:pt x="6769163" y="3521455"/>
                  <a:pt x="5253799" y="4537087"/>
                  <a:pt x="3384613" y="4537087"/>
                </a:cubicBezTo>
                <a:cubicBezTo>
                  <a:pt x="3384613" y="4537087"/>
                  <a:pt x="3384613" y="4537087"/>
                  <a:pt x="3384613" y="4537087"/>
                </a:cubicBezTo>
                <a:lnTo>
                  <a:pt x="3384613" y="4537087"/>
                </a:lnTo>
                <a:cubicBezTo>
                  <a:pt x="1515300" y="4537087"/>
                  <a:pt x="0" y="3521455"/>
                  <a:pt x="0" y="2268601"/>
                </a:cubicBezTo>
                <a:cubicBezTo>
                  <a:pt x="0" y="2268601"/>
                  <a:pt x="0" y="2268601"/>
                  <a:pt x="0" y="2268601"/>
                </a:cubicBezTo>
              </a:path>
            </a:pathLst>
          </a:custGeom>
          <a:solidFill>
            <a:srgbClr val="808080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1043945" y="1114023"/>
            <a:ext cx="6646462" cy="4459213"/>
          </a:xfrm>
          <a:custGeom>
            <a:avLst/>
            <a:gdLst>
              <a:gd name="connsiteX0" fmla="*/ 6350 w 6781863"/>
              <a:gd name="connsiteY0" fmla="*/ 2274951 h 4549787"/>
              <a:gd name="connsiteX1" fmla="*/ 3390963 w 6781863"/>
              <a:gd name="connsiteY1" fmla="*/ 6350 h 4549787"/>
              <a:gd name="connsiteX2" fmla="*/ 3390963 w 6781863"/>
              <a:gd name="connsiteY2" fmla="*/ 6350 h 4549787"/>
              <a:gd name="connsiteX3" fmla="*/ 6775513 w 6781863"/>
              <a:gd name="connsiteY3" fmla="*/ 2274951 h 4549787"/>
              <a:gd name="connsiteX4" fmla="*/ 6775513 w 6781863"/>
              <a:gd name="connsiteY4" fmla="*/ 2274951 h 4549787"/>
              <a:gd name="connsiteX5" fmla="*/ 6775513 w 6781863"/>
              <a:gd name="connsiteY5" fmla="*/ 2274951 h 4549787"/>
              <a:gd name="connsiteX6" fmla="*/ 3390963 w 6781863"/>
              <a:gd name="connsiteY6" fmla="*/ 4543437 h 4549787"/>
              <a:gd name="connsiteX7" fmla="*/ 3390963 w 6781863"/>
              <a:gd name="connsiteY7" fmla="*/ 4543437 h 4549787"/>
              <a:gd name="connsiteX8" fmla="*/ 3390963 w 6781863"/>
              <a:gd name="connsiteY8" fmla="*/ 4543437 h 4549787"/>
              <a:gd name="connsiteX9" fmla="*/ 6350 w 6781863"/>
              <a:gd name="connsiteY9" fmla="*/ 2274951 h 4549787"/>
              <a:gd name="connsiteX10" fmla="*/ 6350 w 6781863"/>
              <a:gd name="connsiteY10" fmla="*/ 2274951 h 454978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</a:cxnLst>
            <a:rect l="l" t="t" r="r" b="b"/>
            <a:pathLst>
              <a:path w="6781863" h="4549787">
                <a:moveTo>
                  <a:pt x="6350" y="2274951"/>
                </a:moveTo>
                <a:cubicBezTo>
                  <a:pt x="6350" y="1021969"/>
                  <a:pt x="1521650" y="6350"/>
                  <a:pt x="3390963" y="6350"/>
                </a:cubicBezTo>
                <a:lnTo>
                  <a:pt x="3390963" y="6350"/>
                </a:lnTo>
                <a:cubicBezTo>
                  <a:pt x="5260149" y="6350"/>
                  <a:pt x="6775513" y="1021969"/>
                  <a:pt x="6775513" y="2274951"/>
                </a:cubicBezTo>
                <a:cubicBezTo>
                  <a:pt x="6775513" y="2274951"/>
                  <a:pt x="6775513" y="2274951"/>
                  <a:pt x="6775513" y="2274951"/>
                </a:cubicBezTo>
                <a:lnTo>
                  <a:pt x="6775513" y="2274951"/>
                </a:lnTo>
                <a:cubicBezTo>
                  <a:pt x="6775513" y="3527805"/>
                  <a:pt x="5260149" y="4543437"/>
                  <a:pt x="3390963" y="4543437"/>
                </a:cubicBezTo>
                <a:cubicBezTo>
                  <a:pt x="3390963" y="4543437"/>
                  <a:pt x="3390963" y="4543437"/>
                  <a:pt x="3390963" y="4543437"/>
                </a:cubicBezTo>
                <a:lnTo>
                  <a:pt x="3390963" y="4543437"/>
                </a:lnTo>
                <a:cubicBezTo>
                  <a:pt x="1521650" y="4543437"/>
                  <a:pt x="6350" y="3527805"/>
                  <a:pt x="6350" y="2274951"/>
                </a:cubicBezTo>
                <a:cubicBezTo>
                  <a:pt x="6350" y="2274951"/>
                  <a:pt x="6350" y="2274951"/>
                  <a:pt x="6350" y="2274951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7" name="Freeform 3"/>
          <p:cNvSpPr/>
          <p:nvPr/>
        </p:nvSpPr>
        <p:spPr>
          <a:xfrm>
            <a:off x="3715511" y="4720964"/>
            <a:ext cx="287637" cy="241600"/>
          </a:xfrm>
          <a:custGeom>
            <a:avLst/>
            <a:gdLst>
              <a:gd name="connsiteX0" fmla="*/ 36703 w 293497"/>
              <a:gd name="connsiteY0" fmla="*/ 6350 h 246507"/>
              <a:gd name="connsiteX1" fmla="*/ 91821 w 293497"/>
              <a:gd name="connsiteY1" fmla="*/ 14985 h 246507"/>
              <a:gd name="connsiteX2" fmla="*/ 138811 w 293497"/>
              <a:gd name="connsiteY2" fmla="*/ 178308 h 246507"/>
              <a:gd name="connsiteX3" fmla="*/ 232029 w 293497"/>
              <a:gd name="connsiteY3" fmla="*/ 36829 h 246507"/>
              <a:gd name="connsiteX4" fmla="*/ 287147 w 293497"/>
              <a:gd name="connsiteY4" fmla="*/ 45339 h 246507"/>
              <a:gd name="connsiteX5" fmla="*/ 286385 w 293497"/>
              <a:gd name="connsiteY5" fmla="*/ 50672 h 246507"/>
              <a:gd name="connsiteX6" fmla="*/ 279527 w 293497"/>
              <a:gd name="connsiteY6" fmla="*/ 49657 h 246507"/>
              <a:gd name="connsiteX7" fmla="*/ 260730 w 293497"/>
              <a:gd name="connsiteY7" fmla="*/ 54355 h 246507"/>
              <a:gd name="connsiteX8" fmla="*/ 254380 w 293497"/>
              <a:gd name="connsiteY8" fmla="*/ 74803 h 246507"/>
              <a:gd name="connsiteX9" fmla="*/ 234569 w 293497"/>
              <a:gd name="connsiteY9" fmla="*/ 202057 h 246507"/>
              <a:gd name="connsiteX10" fmla="*/ 235077 w 293497"/>
              <a:gd name="connsiteY10" fmla="*/ 225171 h 246507"/>
              <a:gd name="connsiteX11" fmla="*/ 250952 w 293497"/>
              <a:gd name="connsiteY11" fmla="*/ 233807 h 246507"/>
              <a:gd name="connsiteX12" fmla="*/ 257683 w 293497"/>
              <a:gd name="connsiteY12" fmla="*/ 234822 h 246507"/>
              <a:gd name="connsiteX13" fmla="*/ 256921 w 293497"/>
              <a:gd name="connsiteY13" fmla="*/ 240157 h 246507"/>
              <a:gd name="connsiteX14" fmla="*/ 174117 w 293497"/>
              <a:gd name="connsiteY14" fmla="*/ 227203 h 246507"/>
              <a:gd name="connsiteX15" fmla="*/ 175005 w 293497"/>
              <a:gd name="connsiteY15" fmla="*/ 221996 h 246507"/>
              <a:gd name="connsiteX16" fmla="*/ 181864 w 293497"/>
              <a:gd name="connsiteY16" fmla="*/ 223011 h 246507"/>
              <a:gd name="connsiteX17" fmla="*/ 200533 w 293497"/>
              <a:gd name="connsiteY17" fmla="*/ 218313 h 246507"/>
              <a:gd name="connsiteX18" fmla="*/ 207010 w 293497"/>
              <a:gd name="connsiteY18" fmla="*/ 197739 h 246507"/>
              <a:gd name="connsiteX19" fmla="*/ 227203 w 293497"/>
              <a:gd name="connsiteY19" fmla="*/ 67690 h 246507"/>
              <a:gd name="connsiteX20" fmla="*/ 126619 w 293497"/>
              <a:gd name="connsiteY20" fmla="*/ 219836 h 246507"/>
              <a:gd name="connsiteX21" fmla="*/ 121792 w 293497"/>
              <a:gd name="connsiteY21" fmla="*/ 219075 h 246507"/>
              <a:gd name="connsiteX22" fmla="*/ 72009 w 293497"/>
              <a:gd name="connsiteY22" fmla="*/ 43560 h 246507"/>
              <a:gd name="connsiteX23" fmla="*/ 51816 w 293497"/>
              <a:gd name="connsiteY23" fmla="*/ 173609 h 246507"/>
              <a:gd name="connsiteX24" fmla="*/ 52197 w 293497"/>
              <a:gd name="connsiteY24" fmla="*/ 196722 h 246507"/>
              <a:gd name="connsiteX25" fmla="*/ 68072 w 293497"/>
              <a:gd name="connsiteY25" fmla="*/ 205359 h 246507"/>
              <a:gd name="connsiteX26" fmla="*/ 74930 w 293497"/>
              <a:gd name="connsiteY26" fmla="*/ 206375 h 246507"/>
              <a:gd name="connsiteX27" fmla="*/ 74167 w 293497"/>
              <a:gd name="connsiteY27" fmla="*/ 211709 h 246507"/>
              <a:gd name="connsiteX28" fmla="*/ 6350 w 293497"/>
              <a:gd name="connsiteY28" fmla="*/ 201167 h 246507"/>
              <a:gd name="connsiteX29" fmla="*/ 7239 w 293497"/>
              <a:gd name="connsiteY29" fmla="*/ 195834 h 246507"/>
              <a:gd name="connsiteX30" fmla="*/ 14097 w 293497"/>
              <a:gd name="connsiteY30" fmla="*/ 196977 h 246507"/>
              <a:gd name="connsiteX31" fmla="*/ 32766 w 293497"/>
              <a:gd name="connsiteY31" fmla="*/ 192151 h 246507"/>
              <a:gd name="connsiteX32" fmla="*/ 39242 w 293497"/>
              <a:gd name="connsiteY32" fmla="*/ 171703 h 246507"/>
              <a:gd name="connsiteX33" fmla="*/ 58928 w 293497"/>
              <a:gd name="connsiteY33" fmla="*/ 44450 h 246507"/>
              <a:gd name="connsiteX34" fmla="*/ 59055 w 293497"/>
              <a:gd name="connsiteY34" fmla="*/ 25272 h 246507"/>
              <a:gd name="connsiteX35" fmla="*/ 52705 w 293497"/>
              <a:gd name="connsiteY35" fmla="*/ 17145 h 246507"/>
              <a:gd name="connsiteX36" fmla="*/ 35814 w 293497"/>
              <a:gd name="connsiteY36" fmla="*/ 11684 h 246507"/>
              <a:gd name="connsiteX37" fmla="*/ 36703 w 293497"/>
              <a:gd name="connsiteY37" fmla="*/ 6350 h 24650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  <a:cxn ang="36">
                <a:pos x="connsiteX36" y="connsiteY36"/>
              </a:cxn>
              <a:cxn ang="37">
                <a:pos x="connsiteX37" y="connsiteY37"/>
              </a:cxn>
            </a:cxnLst>
            <a:rect l="l" t="t" r="r" b="b"/>
            <a:pathLst>
              <a:path w="293497" h="246507">
                <a:moveTo>
                  <a:pt x="36703" y="6350"/>
                </a:moveTo>
                <a:lnTo>
                  <a:pt x="91821" y="14985"/>
                </a:lnTo>
                <a:lnTo>
                  <a:pt x="138811" y="178308"/>
                </a:lnTo>
                <a:lnTo>
                  <a:pt x="232029" y="36829"/>
                </a:lnTo>
                <a:lnTo>
                  <a:pt x="287147" y="45339"/>
                </a:lnTo>
                <a:lnTo>
                  <a:pt x="286385" y="50672"/>
                </a:lnTo>
                <a:lnTo>
                  <a:pt x="279527" y="49657"/>
                </a:lnTo>
                <a:cubicBezTo>
                  <a:pt x="271272" y="48259"/>
                  <a:pt x="264922" y="49910"/>
                  <a:pt x="260730" y="54355"/>
                </a:cubicBezTo>
                <a:cubicBezTo>
                  <a:pt x="258191" y="57022"/>
                  <a:pt x="256032" y="63880"/>
                  <a:pt x="254380" y="74803"/>
                </a:cubicBezTo>
                <a:lnTo>
                  <a:pt x="234569" y="202057"/>
                </a:lnTo>
                <a:cubicBezTo>
                  <a:pt x="232664" y="213995"/>
                  <a:pt x="232917" y="221741"/>
                  <a:pt x="235077" y="225171"/>
                </a:cubicBezTo>
                <a:cubicBezTo>
                  <a:pt x="237998" y="229742"/>
                  <a:pt x="243332" y="232536"/>
                  <a:pt x="250952" y="233807"/>
                </a:cubicBezTo>
                <a:lnTo>
                  <a:pt x="257683" y="234822"/>
                </a:lnTo>
                <a:lnTo>
                  <a:pt x="256921" y="240157"/>
                </a:lnTo>
                <a:lnTo>
                  <a:pt x="174117" y="227203"/>
                </a:lnTo>
                <a:lnTo>
                  <a:pt x="175005" y="221996"/>
                </a:lnTo>
                <a:lnTo>
                  <a:pt x="181864" y="223011"/>
                </a:lnTo>
                <a:cubicBezTo>
                  <a:pt x="190246" y="224282"/>
                  <a:pt x="196469" y="222758"/>
                  <a:pt x="200533" y="218313"/>
                </a:cubicBezTo>
                <a:cubicBezTo>
                  <a:pt x="203073" y="215519"/>
                  <a:pt x="205232" y="208660"/>
                  <a:pt x="207010" y="197739"/>
                </a:cubicBezTo>
                <a:lnTo>
                  <a:pt x="227203" y="67690"/>
                </a:lnTo>
                <a:lnTo>
                  <a:pt x="126619" y="219836"/>
                </a:lnTo>
                <a:lnTo>
                  <a:pt x="121792" y="219075"/>
                </a:lnTo>
                <a:lnTo>
                  <a:pt x="72009" y="43560"/>
                </a:lnTo>
                <a:lnTo>
                  <a:pt x="51816" y="173609"/>
                </a:lnTo>
                <a:cubicBezTo>
                  <a:pt x="49911" y="185673"/>
                  <a:pt x="50165" y="193294"/>
                  <a:pt x="52197" y="196722"/>
                </a:cubicBezTo>
                <a:cubicBezTo>
                  <a:pt x="55117" y="201295"/>
                  <a:pt x="60452" y="204089"/>
                  <a:pt x="68072" y="205359"/>
                </a:cubicBezTo>
                <a:lnTo>
                  <a:pt x="74930" y="206375"/>
                </a:lnTo>
                <a:lnTo>
                  <a:pt x="74167" y="211709"/>
                </a:lnTo>
                <a:lnTo>
                  <a:pt x="6350" y="201167"/>
                </a:lnTo>
                <a:lnTo>
                  <a:pt x="7239" y="195834"/>
                </a:lnTo>
                <a:lnTo>
                  <a:pt x="14097" y="196977"/>
                </a:lnTo>
                <a:cubicBezTo>
                  <a:pt x="22352" y="198247"/>
                  <a:pt x="28575" y="196596"/>
                  <a:pt x="32766" y="192151"/>
                </a:cubicBezTo>
                <a:cubicBezTo>
                  <a:pt x="35305" y="189484"/>
                  <a:pt x="37465" y="182626"/>
                  <a:pt x="39242" y="171703"/>
                </a:cubicBezTo>
                <a:lnTo>
                  <a:pt x="58928" y="44450"/>
                </a:lnTo>
                <a:cubicBezTo>
                  <a:pt x="60325" y="35814"/>
                  <a:pt x="60325" y="29464"/>
                  <a:pt x="59055" y="25272"/>
                </a:cubicBezTo>
                <a:cubicBezTo>
                  <a:pt x="58039" y="22352"/>
                  <a:pt x="56007" y="19684"/>
                  <a:pt x="52705" y="17145"/>
                </a:cubicBezTo>
                <a:cubicBezTo>
                  <a:pt x="49403" y="14732"/>
                  <a:pt x="43815" y="12953"/>
                  <a:pt x="35814" y="11684"/>
                </a:cubicBezTo>
                <a:lnTo>
                  <a:pt x="36703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8" name="Freeform 3"/>
          <p:cNvSpPr/>
          <p:nvPr/>
        </p:nvSpPr>
        <p:spPr>
          <a:xfrm>
            <a:off x="4016343" y="4769260"/>
            <a:ext cx="135791" cy="193554"/>
          </a:xfrm>
          <a:custGeom>
            <a:avLst/>
            <a:gdLst>
              <a:gd name="connsiteX0" fmla="*/ 74802 w 138557"/>
              <a:gd name="connsiteY0" fmla="*/ 6350 h 197485"/>
              <a:gd name="connsiteX1" fmla="*/ 31115 w 138557"/>
              <a:gd name="connsiteY1" fmla="*/ 23114 h 197485"/>
              <a:gd name="connsiteX2" fmla="*/ 6350 w 138557"/>
              <a:gd name="connsiteY2" fmla="*/ 93090 h 197485"/>
              <a:gd name="connsiteX3" fmla="*/ 21844 w 138557"/>
              <a:gd name="connsiteY3" fmla="*/ 168528 h 197485"/>
              <a:gd name="connsiteX4" fmla="*/ 62229 w 138557"/>
              <a:gd name="connsiteY4" fmla="*/ 191134 h 197485"/>
              <a:gd name="connsiteX5" fmla="*/ 109473 w 138557"/>
              <a:gd name="connsiteY5" fmla="*/ 172720 h 197485"/>
              <a:gd name="connsiteX6" fmla="*/ 132207 w 138557"/>
              <a:gd name="connsiteY6" fmla="*/ 105790 h 197485"/>
              <a:gd name="connsiteX7" fmla="*/ 117475 w 138557"/>
              <a:gd name="connsiteY7" fmla="*/ 29083 h 197485"/>
              <a:gd name="connsiteX8" fmla="*/ 74802 w 138557"/>
              <a:gd name="connsiteY8" fmla="*/ 6350 h 1974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138557" h="197485">
                <a:moveTo>
                  <a:pt x="74802" y="6350"/>
                </a:moveTo>
                <a:cubicBezTo>
                  <a:pt x="57150" y="5207"/>
                  <a:pt x="42545" y="10795"/>
                  <a:pt x="31115" y="23114"/>
                </a:cubicBezTo>
                <a:cubicBezTo>
                  <a:pt x="16764" y="38353"/>
                  <a:pt x="8508" y="61721"/>
                  <a:pt x="6350" y="93090"/>
                </a:cubicBezTo>
                <a:cubicBezTo>
                  <a:pt x="4190" y="125095"/>
                  <a:pt x="9271" y="150367"/>
                  <a:pt x="21844" y="168528"/>
                </a:cubicBezTo>
                <a:cubicBezTo>
                  <a:pt x="31496" y="182371"/>
                  <a:pt x="44958" y="189991"/>
                  <a:pt x="62229" y="191134"/>
                </a:cubicBezTo>
                <a:cubicBezTo>
                  <a:pt x="80771" y="192404"/>
                  <a:pt x="96520" y="186182"/>
                  <a:pt x="109473" y="172720"/>
                </a:cubicBezTo>
                <a:cubicBezTo>
                  <a:pt x="122554" y="159130"/>
                  <a:pt x="130047" y="136778"/>
                  <a:pt x="132207" y="105790"/>
                </a:cubicBezTo>
                <a:cubicBezTo>
                  <a:pt x="134492" y="72135"/>
                  <a:pt x="129666" y="46482"/>
                  <a:pt x="117475" y="29083"/>
                </a:cubicBezTo>
                <a:cubicBezTo>
                  <a:pt x="107822" y="15239"/>
                  <a:pt x="93471" y="7620"/>
                  <a:pt x="74802" y="6350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9" name="Freeform 3"/>
          <p:cNvSpPr/>
          <p:nvPr/>
        </p:nvSpPr>
        <p:spPr>
          <a:xfrm>
            <a:off x="3983733" y="4759053"/>
            <a:ext cx="201259" cy="213842"/>
          </a:xfrm>
          <a:custGeom>
            <a:avLst/>
            <a:gdLst>
              <a:gd name="connsiteX0" fmla="*/ 111505 w 205359"/>
              <a:gd name="connsiteY0" fmla="*/ 6350 h 218186"/>
              <a:gd name="connsiteX1" fmla="*/ 175895 w 205359"/>
              <a:gd name="connsiteY1" fmla="*/ 40004 h 218186"/>
              <a:gd name="connsiteX2" fmla="*/ 199008 w 205359"/>
              <a:gd name="connsiteY2" fmla="*/ 114553 h 218186"/>
              <a:gd name="connsiteX3" fmla="*/ 165607 w 205359"/>
              <a:gd name="connsiteY3" fmla="*/ 186944 h 218186"/>
              <a:gd name="connsiteX4" fmla="*/ 95122 w 205359"/>
              <a:gd name="connsiteY4" fmla="*/ 211835 h 218186"/>
              <a:gd name="connsiteX5" fmla="*/ 28828 w 205359"/>
              <a:gd name="connsiteY5" fmla="*/ 178308 h 218186"/>
              <a:gd name="connsiteX6" fmla="*/ 6350 w 205359"/>
              <a:gd name="connsiteY6" fmla="*/ 101727 h 218186"/>
              <a:gd name="connsiteX7" fmla="*/ 43433 w 205359"/>
              <a:gd name="connsiteY7" fmla="*/ 27559 h 218186"/>
              <a:gd name="connsiteX8" fmla="*/ 111505 w 205359"/>
              <a:gd name="connsiteY8" fmla="*/ 6350 h 21818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205359" h="218186">
                <a:moveTo>
                  <a:pt x="111505" y="6350"/>
                </a:moveTo>
                <a:cubicBezTo>
                  <a:pt x="137032" y="8128"/>
                  <a:pt x="158495" y="19303"/>
                  <a:pt x="175895" y="40004"/>
                </a:cubicBezTo>
                <a:cubicBezTo>
                  <a:pt x="193294" y="60705"/>
                  <a:pt x="200914" y="85471"/>
                  <a:pt x="199008" y="114553"/>
                </a:cubicBezTo>
                <a:cubicBezTo>
                  <a:pt x="196976" y="144398"/>
                  <a:pt x="185801" y="168528"/>
                  <a:pt x="165607" y="186944"/>
                </a:cubicBezTo>
                <a:cubicBezTo>
                  <a:pt x="145414" y="205359"/>
                  <a:pt x="121920" y="213741"/>
                  <a:pt x="95122" y="211835"/>
                </a:cubicBezTo>
                <a:cubicBezTo>
                  <a:pt x="68071" y="210058"/>
                  <a:pt x="45973" y="198882"/>
                  <a:pt x="28828" y="178308"/>
                </a:cubicBezTo>
                <a:cubicBezTo>
                  <a:pt x="11810" y="157860"/>
                  <a:pt x="4317" y="132334"/>
                  <a:pt x="6350" y="101727"/>
                </a:cubicBezTo>
                <a:cubicBezTo>
                  <a:pt x="8508" y="70611"/>
                  <a:pt x="20827" y="45847"/>
                  <a:pt x="43433" y="27559"/>
                </a:cubicBezTo>
                <a:cubicBezTo>
                  <a:pt x="63119" y="11684"/>
                  <a:pt x="85851" y="4572"/>
                  <a:pt x="111505" y="6350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" name="Freeform 3"/>
          <p:cNvSpPr/>
          <p:nvPr/>
        </p:nvSpPr>
        <p:spPr>
          <a:xfrm>
            <a:off x="4180012" y="4769881"/>
            <a:ext cx="215323" cy="208864"/>
          </a:xfrm>
          <a:custGeom>
            <a:avLst/>
            <a:gdLst>
              <a:gd name="connsiteX0" fmla="*/ 9652 w 219710"/>
              <a:gd name="connsiteY0" fmla="*/ 6350 h 213106"/>
              <a:gd name="connsiteX1" fmla="*/ 94107 w 219710"/>
              <a:gd name="connsiteY1" fmla="*/ 7747 h 213106"/>
              <a:gd name="connsiteX2" fmla="*/ 93979 w 219710"/>
              <a:gd name="connsiteY2" fmla="*/ 13080 h 213106"/>
              <a:gd name="connsiteX3" fmla="*/ 86867 w 219710"/>
              <a:gd name="connsiteY3" fmla="*/ 12954 h 213106"/>
              <a:gd name="connsiteX4" fmla="*/ 73533 w 219710"/>
              <a:gd name="connsiteY4" fmla="*/ 16129 h 213106"/>
              <a:gd name="connsiteX5" fmla="*/ 67183 w 219710"/>
              <a:gd name="connsiteY5" fmla="*/ 23114 h 213106"/>
              <a:gd name="connsiteX6" fmla="*/ 65151 w 219710"/>
              <a:gd name="connsiteY6" fmla="*/ 42291 h 213106"/>
              <a:gd name="connsiteX7" fmla="*/ 64261 w 219710"/>
              <a:gd name="connsiteY7" fmla="*/ 98679 h 213106"/>
              <a:gd name="connsiteX8" fmla="*/ 155828 w 219710"/>
              <a:gd name="connsiteY8" fmla="*/ 100203 h 213106"/>
              <a:gd name="connsiteX9" fmla="*/ 156717 w 219710"/>
              <a:gd name="connsiteY9" fmla="*/ 43815 h 213106"/>
              <a:gd name="connsiteX10" fmla="*/ 155194 w 219710"/>
              <a:gd name="connsiteY10" fmla="*/ 23876 h 213106"/>
              <a:gd name="connsiteX11" fmla="*/ 149097 w 219710"/>
              <a:gd name="connsiteY11" fmla="*/ 17526 h 213106"/>
              <a:gd name="connsiteX12" fmla="*/ 136016 w 219710"/>
              <a:gd name="connsiteY12" fmla="*/ 13842 h 213106"/>
              <a:gd name="connsiteX13" fmla="*/ 129032 w 219710"/>
              <a:gd name="connsiteY13" fmla="*/ 13716 h 213106"/>
              <a:gd name="connsiteX14" fmla="*/ 129032 w 219710"/>
              <a:gd name="connsiteY14" fmla="*/ 8254 h 213106"/>
              <a:gd name="connsiteX15" fmla="*/ 213360 w 219710"/>
              <a:gd name="connsiteY15" fmla="*/ 9652 h 213106"/>
              <a:gd name="connsiteX16" fmla="*/ 213360 w 219710"/>
              <a:gd name="connsiteY16" fmla="*/ 14986 h 213106"/>
              <a:gd name="connsiteX17" fmla="*/ 206375 w 219710"/>
              <a:gd name="connsiteY17" fmla="*/ 14986 h 213106"/>
              <a:gd name="connsiteX18" fmla="*/ 193040 w 219710"/>
              <a:gd name="connsiteY18" fmla="*/ 18034 h 213106"/>
              <a:gd name="connsiteX19" fmla="*/ 186563 w 219710"/>
              <a:gd name="connsiteY19" fmla="*/ 25019 h 213106"/>
              <a:gd name="connsiteX20" fmla="*/ 184658 w 219710"/>
              <a:gd name="connsiteY20" fmla="*/ 44196 h 213106"/>
              <a:gd name="connsiteX21" fmla="*/ 182498 w 219710"/>
              <a:gd name="connsiteY21" fmla="*/ 171450 h 213106"/>
              <a:gd name="connsiteX22" fmla="*/ 184150 w 219710"/>
              <a:gd name="connsiteY22" fmla="*/ 191261 h 213106"/>
              <a:gd name="connsiteX23" fmla="*/ 189991 w 219710"/>
              <a:gd name="connsiteY23" fmla="*/ 197611 h 213106"/>
              <a:gd name="connsiteX24" fmla="*/ 203327 w 219710"/>
              <a:gd name="connsiteY24" fmla="*/ 201295 h 213106"/>
              <a:gd name="connsiteX25" fmla="*/ 210311 w 219710"/>
              <a:gd name="connsiteY25" fmla="*/ 201422 h 213106"/>
              <a:gd name="connsiteX26" fmla="*/ 210185 w 219710"/>
              <a:gd name="connsiteY26" fmla="*/ 206755 h 213106"/>
              <a:gd name="connsiteX27" fmla="*/ 125857 w 219710"/>
              <a:gd name="connsiteY27" fmla="*/ 205359 h 213106"/>
              <a:gd name="connsiteX28" fmla="*/ 125984 w 219710"/>
              <a:gd name="connsiteY28" fmla="*/ 200025 h 213106"/>
              <a:gd name="connsiteX29" fmla="*/ 132969 w 219710"/>
              <a:gd name="connsiteY29" fmla="*/ 200152 h 213106"/>
              <a:gd name="connsiteX30" fmla="*/ 150622 w 219710"/>
              <a:gd name="connsiteY30" fmla="*/ 193294 h 213106"/>
              <a:gd name="connsiteX31" fmla="*/ 154685 w 219710"/>
              <a:gd name="connsiteY31" fmla="*/ 170942 h 213106"/>
              <a:gd name="connsiteX32" fmla="*/ 155575 w 219710"/>
              <a:gd name="connsiteY32" fmla="*/ 110871 h 213106"/>
              <a:gd name="connsiteX33" fmla="*/ 64008 w 219710"/>
              <a:gd name="connsiteY33" fmla="*/ 109473 h 213106"/>
              <a:gd name="connsiteX34" fmla="*/ 63119 w 219710"/>
              <a:gd name="connsiteY34" fmla="*/ 169417 h 213106"/>
              <a:gd name="connsiteX35" fmla="*/ 64642 w 219710"/>
              <a:gd name="connsiteY35" fmla="*/ 189229 h 213106"/>
              <a:gd name="connsiteX36" fmla="*/ 70611 w 219710"/>
              <a:gd name="connsiteY36" fmla="*/ 195579 h 213106"/>
              <a:gd name="connsiteX37" fmla="*/ 83820 w 219710"/>
              <a:gd name="connsiteY37" fmla="*/ 199263 h 213106"/>
              <a:gd name="connsiteX38" fmla="*/ 90932 w 219710"/>
              <a:gd name="connsiteY38" fmla="*/ 199390 h 213106"/>
              <a:gd name="connsiteX39" fmla="*/ 90804 w 219710"/>
              <a:gd name="connsiteY39" fmla="*/ 204851 h 213106"/>
              <a:gd name="connsiteX40" fmla="*/ 6350 w 219710"/>
              <a:gd name="connsiteY40" fmla="*/ 203454 h 213106"/>
              <a:gd name="connsiteX41" fmla="*/ 6477 w 219710"/>
              <a:gd name="connsiteY41" fmla="*/ 198120 h 213106"/>
              <a:gd name="connsiteX42" fmla="*/ 13461 w 219710"/>
              <a:gd name="connsiteY42" fmla="*/ 198120 h 213106"/>
              <a:gd name="connsiteX43" fmla="*/ 31369 w 219710"/>
              <a:gd name="connsiteY43" fmla="*/ 191389 h 213106"/>
              <a:gd name="connsiteX44" fmla="*/ 35178 w 219710"/>
              <a:gd name="connsiteY44" fmla="*/ 169036 h 213106"/>
              <a:gd name="connsiteX45" fmla="*/ 37210 w 219710"/>
              <a:gd name="connsiteY45" fmla="*/ 41783 h 213106"/>
              <a:gd name="connsiteX46" fmla="*/ 35686 w 219710"/>
              <a:gd name="connsiteY46" fmla="*/ 21844 h 213106"/>
              <a:gd name="connsiteX47" fmla="*/ 29845 w 219710"/>
              <a:gd name="connsiteY47" fmla="*/ 15494 h 213106"/>
              <a:gd name="connsiteX48" fmla="*/ 16510 w 219710"/>
              <a:gd name="connsiteY48" fmla="*/ 11811 h 213106"/>
              <a:gd name="connsiteX49" fmla="*/ 9525 w 219710"/>
              <a:gd name="connsiteY49" fmla="*/ 11684 h 213106"/>
              <a:gd name="connsiteX50" fmla="*/ 9652 w 219710"/>
              <a:gd name="connsiteY50" fmla="*/ 6350 h 21310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  <a:cxn ang="36">
                <a:pos x="connsiteX36" y="connsiteY36"/>
              </a:cxn>
              <a:cxn ang="37">
                <a:pos x="connsiteX37" y="connsiteY37"/>
              </a:cxn>
              <a:cxn ang="38">
                <a:pos x="connsiteX38" y="connsiteY38"/>
              </a:cxn>
              <a:cxn ang="39">
                <a:pos x="connsiteX39" y="connsiteY39"/>
              </a:cxn>
              <a:cxn ang="40">
                <a:pos x="connsiteX40" y="connsiteY40"/>
              </a:cxn>
              <a:cxn ang="41">
                <a:pos x="connsiteX41" y="connsiteY41"/>
              </a:cxn>
              <a:cxn ang="42">
                <a:pos x="connsiteX42" y="connsiteY42"/>
              </a:cxn>
              <a:cxn ang="43">
                <a:pos x="connsiteX43" y="connsiteY43"/>
              </a:cxn>
              <a:cxn ang="44">
                <a:pos x="connsiteX44" y="connsiteY44"/>
              </a:cxn>
              <a:cxn ang="45">
                <a:pos x="connsiteX45" y="connsiteY45"/>
              </a:cxn>
              <a:cxn ang="46">
                <a:pos x="connsiteX46" y="connsiteY46"/>
              </a:cxn>
              <a:cxn ang="47">
                <a:pos x="connsiteX47" y="connsiteY47"/>
              </a:cxn>
              <a:cxn ang="48">
                <a:pos x="connsiteX48" y="connsiteY48"/>
              </a:cxn>
              <a:cxn ang="49">
                <a:pos x="connsiteX49" y="connsiteY49"/>
              </a:cxn>
              <a:cxn ang="50">
                <a:pos x="connsiteX50" y="connsiteY50"/>
              </a:cxn>
            </a:cxnLst>
            <a:rect l="l" t="t" r="r" b="b"/>
            <a:pathLst>
              <a:path w="219710" h="213106">
                <a:moveTo>
                  <a:pt x="9652" y="6350"/>
                </a:moveTo>
                <a:lnTo>
                  <a:pt x="94107" y="7747"/>
                </a:lnTo>
                <a:lnTo>
                  <a:pt x="93979" y="13080"/>
                </a:lnTo>
                <a:lnTo>
                  <a:pt x="86867" y="12954"/>
                </a:lnTo>
                <a:cubicBezTo>
                  <a:pt x="82169" y="12954"/>
                  <a:pt x="77723" y="13970"/>
                  <a:pt x="73533" y="16129"/>
                </a:cubicBezTo>
                <a:cubicBezTo>
                  <a:pt x="70485" y="17653"/>
                  <a:pt x="68453" y="19939"/>
                  <a:pt x="67183" y="23114"/>
                </a:cubicBezTo>
                <a:cubicBezTo>
                  <a:pt x="66040" y="26161"/>
                  <a:pt x="65278" y="32639"/>
                  <a:pt x="65151" y="42291"/>
                </a:cubicBezTo>
                <a:lnTo>
                  <a:pt x="64261" y="98679"/>
                </a:lnTo>
                <a:lnTo>
                  <a:pt x="155828" y="100203"/>
                </a:lnTo>
                <a:lnTo>
                  <a:pt x="156717" y="43815"/>
                </a:lnTo>
                <a:cubicBezTo>
                  <a:pt x="156845" y="33654"/>
                  <a:pt x="156336" y="27051"/>
                  <a:pt x="155194" y="23876"/>
                </a:cubicBezTo>
                <a:cubicBezTo>
                  <a:pt x="154178" y="21463"/>
                  <a:pt x="152272" y="19304"/>
                  <a:pt x="149097" y="17526"/>
                </a:cubicBezTo>
                <a:cubicBezTo>
                  <a:pt x="145034" y="15113"/>
                  <a:pt x="140589" y="13842"/>
                  <a:pt x="136016" y="13842"/>
                </a:cubicBezTo>
                <a:lnTo>
                  <a:pt x="129032" y="13716"/>
                </a:lnTo>
                <a:lnTo>
                  <a:pt x="129032" y="8254"/>
                </a:lnTo>
                <a:lnTo>
                  <a:pt x="213360" y="9652"/>
                </a:lnTo>
                <a:lnTo>
                  <a:pt x="213360" y="14986"/>
                </a:lnTo>
                <a:lnTo>
                  <a:pt x="206375" y="14986"/>
                </a:lnTo>
                <a:cubicBezTo>
                  <a:pt x="201676" y="14859"/>
                  <a:pt x="197230" y="15875"/>
                  <a:pt x="193040" y="18034"/>
                </a:cubicBezTo>
                <a:cubicBezTo>
                  <a:pt x="189865" y="19558"/>
                  <a:pt x="187833" y="21844"/>
                  <a:pt x="186563" y="25019"/>
                </a:cubicBezTo>
                <a:cubicBezTo>
                  <a:pt x="185420" y="28194"/>
                  <a:pt x="184785" y="34544"/>
                  <a:pt x="184658" y="44196"/>
                </a:cubicBezTo>
                <a:lnTo>
                  <a:pt x="182498" y="171450"/>
                </a:lnTo>
                <a:cubicBezTo>
                  <a:pt x="182372" y="181355"/>
                  <a:pt x="182879" y="187960"/>
                  <a:pt x="184150" y="191261"/>
                </a:cubicBezTo>
                <a:cubicBezTo>
                  <a:pt x="185039" y="193675"/>
                  <a:pt x="186944" y="195707"/>
                  <a:pt x="189991" y="197611"/>
                </a:cubicBezTo>
                <a:cubicBezTo>
                  <a:pt x="194183" y="199898"/>
                  <a:pt x="198628" y="201167"/>
                  <a:pt x="203327" y="201295"/>
                </a:cubicBezTo>
                <a:lnTo>
                  <a:pt x="210311" y="201422"/>
                </a:lnTo>
                <a:lnTo>
                  <a:pt x="210185" y="206755"/>
                </a:lnTo>
                <a:lnTo>
                  <a:pt x="125857" y="205359"/>
                </a:lnTo>
                <a:lnTo>
                  <a:pt x="125984" y="200025"/>
                </a:lnTo>
                <a:lnTo>
                  <a:pt x="132969" y="200152"/>
                </a:lnTo>
                <a:cubicBezTo>
                  <a:pt x="140970" y="200279"/>
                  <a:pt x="146939" y="197992"/>
                  <a:pt x="150622" y="193294"/>
                </a:cubicBezTo>
                <a:cubicBezTo>
                  <a:pt x="153161" y="190246"/>
                  <a:pt x="154432" y="182753"/>
                  <a:pt x="154685" y="170942"/>
                </a:cubicBezTo>
                <a:lnTo>
                  <a:pt x="155575" y="110871"/>
                </a:lnTo>
                <a:lnTo>
                  <a:pt x="64008" y="109473"/>
                </a:lnTo>
                <a:lnTo>
                  <a:pt x="63119" y="169417"/>
                </a:lnTo>
                <a:cubicBezTo>
                  <a:pt x="62865" y="179451"/>
                  <a:pt x="63500" y="186054"/>
                  <a:pt x="64642" y="189229"/>
                </a:cubicBezTo>
                <a:cubicBezTo>
                  <a:pt x="65532" y="191770"/>
                  <a:pt x="67564" y="193802"/>
                  <a:pt x="70611" y="195579"/>
                </a:cubicBezTo>
                <a:cubicBezTo>
                  <a:pt x="74803" y="197992"/>
                  <a:pt x="79121" y="199263"/>
                  <a:pt x="83820" y="199263"/>
                </a:cubicBezTo>
                <a:lnTo>
                  <a:pt x="90932" y="199390"/>
                </a:lnTo>
                <a:lnTo>
                  <a:pt x="90804" y="204851"/>
                </a:lnTo>
                <a:lnTo>
                  <a:pt x="6350" y="203454"/>
                </a:lnTo>
                <a:lnTo>
                  <a:pt x="6477" y="198120"/>
                </a:lnTo>
                <a:lnTo>
                  <a:pt x="13461" y="198120"/>
                </a:lnTo>
                <a:cubicBezTo>
                  <a:pt x="21590" y="198247"/>
                  <a:pt x="27559" y="196088"/>
                  <a:pt x="31369" y="191389"/>
                </a:cubicBezTo>
                <a:cubicBezTo>
                  <a:pt x="33654" y="188341"/>
                  <a:pt x="34925" y="180848"/>
                  <a:pt x="35178" y="169036"/>
                </a:cubicBezTo>
                <a:lnTo>
                  <a:pt x="37210" y="41783"/>
                </a:lnTo>
                <a:cubicBezTo>
                  <a:pt x="37465" y="31750"/>
                  <a:pt x="36829" y="25146"/>
                  <a:pt x="35686" y="21844"/>
                </a:cubicBezTo>
                <a:cubicBezTo>
                  <a:pt x="34797" y="19430"/>
                  <a:pt x="32766" y="17398"/>
                  <a:pt x="29845" y="15494"/>
                </a:cubicBezTo>
                <a:cubicBezTo>
                  <a:pt x="25653" y="13208"/>
                  <a:pt x="21209" y="11938"/>
                  <a:pt x="16510" y="11811"/>
                </a:cubicBezTo>
                <a:lnTo>
                  <a:pt x="9525" y="11684"/>
                </a:lnTo>
                <a:lnTo>
                  <a:pt x="9652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" name="Freeform 3"/>
          <p:cNvSpPr/>
          <p:nvPr/>
        </p:nvSpPr>
        <p:spPr>
          <a:xfrm>
            <a:off x="4383387" y="4767890"/>
            <a:ext cx="217564" cy="210731"/>
          </a:xfrm>
          <a:custGeom>
            <a:avLst/>
            <a:gdLst>
              <a:gd name="connsiteX0" fmla="*/ 6350 w 221996"/>
              <a:gd name="connsiteY0" fmla="*/ 11557 h 215011"/>
              <a:gd name="connsiteX1" fmla="*/ 91313 w 221996"/>
              <a:gd name="connsiteY1" fmla="*/ 9398 h 215011"/>
              <a:gd name="connsiteX2" fmla="*/ 91440 w 221996"/>
              <a:gd name="connsiteY2" fmla="*/ 14732 h 215011"/>
              <a:gd name="connsiteX3" fmla="*/ 68072 w 221996"/>
              <a:gd name="connsiteY3" fmla="*/ 21209 h 215011"/>
              <a:gd name="connsiteX4" fmla="*/ 63627 w 221996"/>
              <a:gd name="connsiteY4" fmla="*/ 46101 h 215011"/>
              <a:gd name="connsiteX5" fmla="*/ 66548 w 221996"/>
              <a:gd name="connsiteY5" fmla="*/ 159511 h 215011"/>
              <a:gd name="connsiteX6" fmla="*/ 154940 w 221996"/>
              <a:gd name="connsiteY6" fmla="*/ 40386 h 215011"/>
              <a:gd name="connsiteX7" fmla="*/ 148590 w 221996"/>
              <a:gd name="connsiteY7" fmla="*/ 18034 h 215011"/>
              <a:gd name="connsiteX8" fmla="*/ 125348 w 221996"/>
              <a:gd name="connsiteY8" fmla="*/ 13970 h 215011"/>
              <a:gd name="connsiteX9" fmla="*/ 125222 w 221996"/>
              <a:gd name="connsiteY9" fmla="*/ 8509 h 215011"/>
              <a:gd name="connsiteX10" fmla="*/ 210439 w 221996"/>
              <a:gd name="connsiteY10" fmla="*/ 6350 h 215011"/>
              <a:gd name="connsiteX11" fmla="*/ 210692 w 221996"/>
              <a:gd name="connsiteY11" fmla="*/ 11684 h 215011"/>
              <a:gd name="connsiteX12" fmla="*/ 187325 w 221996"/>
              <a:gd name="connsiteY12" fmla="*/ 18161 h 215011"/>
              <a:gd name="connsiteX13" fmla="*/ 182879 w 221996"/>
              <a:gd name="connsiteY13" fmla="*/ 42926 h 215011"/>
              <a:gd name="connsiteX14" fmla="*/ 186182 w 221996"/>
              <a:gd name="connsiteY14" fmla="*/ 168275 h 215011"/>
              <a:gd name="connsiteX15" fmla="*/ 191897 w 221996"/>
              <a:gd name="connsiteY15" fmla="*/ 192786 h 215011"/>
              <a:gd name="connsiteX16" fmla="*/ 215519 w 221996"/>
              <a:gd name="connsiteY16" fmla="*/ 197993 h 215011"/>
              <a:gd name="connsiteX17" fmla="*/ 215646 w 221996"/>
              <a:gd name="connsiteY17" fmla="*/ 203327 h 215011"/>
              <a:gd name="connsiteX18" fmla="*/ 130302 w 221996"/>
              <a:gd name="connsiteY18" fmla="*/ 205613 h 215011"/>
              <a:gd name="connsiteX19" fmla="*/ 130175 w 221996"/>
              <a:gd name="connsiteY19" fmla="*/ 200152 h 215011"/>
              <a:gd name="connsiteX20" fmla="*/ 153797 w 221996"/>
              <a:gd name="connsiteY20" fmla="*/ 193675 h 215011"/>
              <a:gd name="connsiteX21" fmla="*/ 158242 w 221996"/>
              <a:gd name="connsiteY21" fmla="*/ 168910 h 215011"/>
              <a:gd name="connsiteX22" fmla="*/ 155321 w 221996"/>
              <a:gd name="connsiteY22" fmla="*/ 55880 h 215011"/>
              <a:gd name="connsiteX23" fmla="*/ 66929 w 221996"/>
              <a:gd name="connsiteY23" fmla="*/ 175386 h 215011"/>
              <a:gd name="connsiteX24" fmla="*/ 69088 w 221996"/>
              <a:gd name="connsiteY24" fmla="*/ 192278 h 215011"/>
              <a:gd name="connsiteX25" fmla="*/ 76454 w 221996"/>
              <a:gd name="connsiteY25" fmla="*/ 198882 h 215011"/>
              <a:gd name="connsiteX26" fmla="*/ 96266 w 221996"/>
              <a:gd name="connsiteY26" fmla="*/ 201041 h 215011"/>
              <a:gd name="connsiteX27" fmla="*/ 96392 w 221996"/>
              <a:gd name="connsiteY27" fmla="*/ 206502 h 215011"/>
              <a:gd name="connsiteX28" fmla="*/ 11429 w 221996"/>
              <a:gd name="connsiteY28" fmla="*/ 208661 h 215011"/>
              <a:gd name="connsiteX29" fmla="*/ 11303 w 221996"/>
              <a:gd name="connsiteY29" fmla="*/ 203327 h 215011"/>
              <a:gd name="connsiteX30" fmla="*/ 34544 w 221996"/>
              <a:gd name="connsiteY30" fmla="*/ 196850 h 215011"/>
              <a:gd name="connsiteX31" fmla="*/ 38989 w 221996"/>
              <a:gd name="connsiteY31" fmla="*/ 172085 h 215011"/>
              <a:gd name="connsiteX32" fmla="*/ 35686 w 221996"/>
              <a:gd name="connsiteY32" fmla="*/ 46736 h 215011"/>
              <a:gd name="connsiteX33" fmla="*/ 29972 w 221996"/>
              <a:gd name="connsiteY33" fmla="*/ 22225 h 215011"/>
              <a:gd name="connsiteX34" fmla="*/ 6477 w 221996"/>
              <a:gd name="connsiteY34" fmla="*/ 17018 h 215011"/>
              <a:gd name="connsiteX35" fmla="*/ 6350 w 221996"/>
              <a:gd name="connsiteY35" fmla="*/ 11557 h 21501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</a:cxnLst>
            <a:rect l="l" t="t" r="r" b="b"/>
            <a:pathLst>
              <a:path w="221996" h="215011">
                <a:moveTo>
                  <a:pt x="6350" y="11557"/>
                </a:moveTo>
                <a:lnTo>
                  <a:pt x="91313" y="9398"/>
                </a:lnTo>
                <a:lnTo>
                  <a:pt x="91440" y="14732"/>
                </a:lnTo>
                <a:cubicBezTo>
                  <a:pt x="79121" y="15494"/>
                  <a:pt x="71373" y="17653"/>
                  <a:pt x="68072" y="21209"/>
                </a:cubicBezTo>
                <a:cubicBezTo>
                  <a:pt x="64770" y="24765"/>
                  <a:pt x="63246" y="33020"/>
                  <a:pt x="63627" y="46101"/>
                </a:cubicBezTo>
                <a:lnTo>
                  <a:pt x="66548" y="159511"/>
                </a:lnTo>
                <a:lnTo>
                  <a:pt x="154940" y="40386"/>
                </a:lnTo>
                <a:cubicBezTo>
                  <a:pt x="154685" y="28575"/>
                  <a:pt x="152527" y="21082"/>
                  <a:pt x="148590" y="18034"/>
                </a:cubicBezTo>
                <a:cubicBezTo>
                  <a:pt x="144779" y="14986"/>
                  <a:pt x="136905" y="13589"/>
                  <a:pt x="125348" y="13970"/>
                </a:cubicBezTo>
                <a:lnTo>
                  <a:pt x="125222" y="8509"/>
                </a:lnTo>
                <a:lnTo>
                  <a:pt x="210439" y="6350"/>
                </a:lnTo>
                <a:lnTo>
                  <a:pt x="210692" y="11684"/>
                </a:lnTo>
                <a:cubicBezTo>
                  <a:pt x="198373" y="12446"/>
                  <a:pt x="190627" y="14605"/>
                  <a:pt x="187325" y="18161"/>
                </a:cubicBezTo>
                <a:cubicBezTo>
                  <a:pt x="184023" y="21717"/>
                  <a:pt x="182626" y="29972"/>
                  <a:pt x="182879" y="42926"/>
                </a:cubicBezTo>
                <a:lnTo>
                  <a:pt x="186182" y="168275"/>
                </a:lnTo>
                <a:cubicBezTo>
                  <a:pt x="186563" y="181229"/>
                  <a:pt x="188467" y="189357"/>
                  <a:pt x="191897" y="192786"/>
                </a:cubicBezTo>
                <a:cubicBezTo>
                  <a:pt x="195453" y="196215"/>
                  <a:pt x="203200" y="197866"/>
                  <a:pt x="215519" y="197993"/>
                </a:cubicBezTo>
                <a:lnTo>
                  <a:pt x="215646" y="203327"/>
                </a:lnTo>
                <a:lnTo>
                  <a:pt x="130302" y="205613"/>
                </a:lnTo>
                <a:lnTo>
                  <a:pt x="130175" y="200152"/>
                </a:lnTo>
                <a:cubicBezTo>
                  <a:pt x="142621" y="199517"/>
                  <a:pt x="150495" y="197358"/>
                  <a:pt x="153797" y="193675"/>
                </a:cubicBezTo>
                <a:cubicBezTo>
                  <a:pt x="157098" y="190119"/>
                  <a:pt x="158623" y="181864"/>
                  <a:pt x="158242" y="168910"/>
                </a:cubicBezTo>
                <a:lnTo>
                  <a:pt x="155321" y="55880"/>
                </a:lnTo>
                <a:lnTo>
                  <a:pt x="66929" y="175386"/>
                </a:lnTo>
                <a:cubicBezTo>
                  <a:pt x="67310" y="183769"/>
                  <a:pt x="67945" y="189484"/>
                  <a:pt x="69088" y="192278"/>
                </a:cubicBezTo>
                <a:cubicBezTo>
                  <a:pt x="70230" y="195072"/>
                  <a:pt x="72644" y="197230"/>
                  <a:pt x="76454" y="198882"/>
                </a:cubicBezTo>
                <a:cubicBezTo>
                  <a:pt x="80136" y="200405"/>
                  <a:pt x="86741" y="201168"/>
                  <a:pt x="96266" y="201041"/>
                </a:cubicBezTo>
                <a:lnTo>
                  <a:pt x="96392" y="206502"/>
                </a:lnTo>
                <a:lnTo>
                  <a:pt x="11429" y="208661"/>
                </a:lnTo>
                <a:lnTo>
                  <a:pt x="11303" y="203327"/>
                </a:lnTo>
                <a:cubicBezTo>
                  <a:pt x="23495" y="202565"/>
                  <a:pt x="31242" y="200405"/>
                  <a:pt x="34544" y="196850"/>
                </a:cubicBezTo>
                <a:cubicBezTo>
                  <a:pt x="37846" y="193294"/>
                  <a:pt x="39370" y="185039"/>
                  <a:pt x="38989" y="172085"/>
                </a:cubicBezTo>
                <a:lnTo>
                  <a:pt x="35686" y="46736"/>
                </a:lnTo>
                <a:cubicBezTo>
                  <a:pt x="35433" y="33782"/>
                  <a:pt x="33528" y="25654"/>
                  <a:pt x="29972" y="22225"/>
                </a:cubicBezTo>
                <a:cubicBezTo>
                  <a:pt x="26542" y="18796"/>
                  <a:pt x="18669" y="17018"/>
                  <a:pt x="6477" y="17018"/>
                </a:cubicBezTo>
                <a:lnTo>
                  <a:pt x="6350" y="11557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2" name="Freeform 3"/>
          <p:cNvSpPr/>
          <p:nvPr/>
        </p:nvSpPr>
        <p:spPr>
          <a:xfrm>
            <a:off x="4590371" y="4757559"/>
            <a:ext cx="174748" cy="212598"/>
          </a:xfrm>
          <a:custGeom>
            <a:avLst/>
            <a:gdLst>
              <a:gd name="connsiteX0" fmla="*/ 6350 w 178308"/>
              <a:gd name="connsiteY0" fmla="*/ 16128 h 216916"/>
              <a:gd name="connsiteX1" fmla="*/ 167004 w 178308"/>
              <a:gd name="connsiteY1" fmla="*/ 6350 h 216916"/>
              <a:gd name="connsiteX2" fmla="*/ 171958 w 178308"/>
              <a:gd name="connsiteY2" fmla="*/ 52323 h 216916"/>
              <a:gd name="connsiteX3" fmla="*/ 166497 w 178308"/>
              <a:gd name="connsiteY3" fmla="*/ 52704 h 216916"/>
              <a:gd name="connsiteX4" fmla="*/ 161035 w 178308"/>
              <a:gd name="connsiteY4" fmla="*/ 35559 h 216916"/>
              <a:gd name="connsiteX5" fmla="*/ 148335 w 178308"/>
              <a:gd name="connsiteY5" fmla="*/ 23876 h 216916"/>
              <a:gd name="connsiteX6" fmla="*/ 128397 w 178308"/>
              <a:gd name="connsiteY6" fmla="*/ 21082 h 216916"/>
              <a:gd name="connsiteX7" fmla="*/ 100710 w 178308"/>
              <a:gd name="connsiteY7" fmla="*/ 22733 h 216916"/>
              <a:gd name="connsiteX8" fmla="*/ 109854 w 178308"/>
              <a:gd name="connsiteY8" fmla="*/ 173101 h 216916"/>
              <a:gd name="connsiteX9" fmla="*/ 115189 w 178308"/>
              <a:gd name="connsiteY9" fmla="*/ 195452 h 216916"/>
              <a:gd name="connsiteX10" fmla="*/ 132588 w 178308"/>
              <a:gd name="connsiteY10" fmla="*/ 200533 h 216916"/>
              <a:gd name="connsiteX11" fmla="*/ 139319 w 178308"/>
              <a:gd name="connsiteY11" fmla="*/ 200152 h 216916"/>
              <a:gd name="connsiteX12" fmla="*/ 139700 w 178308"/>
              <a:gd name="connsiteY12" fmla="*/ 205485 h 216916"/>
              <a:gd name="connsiteX13" fmla="*/ 56260 w 178308"/>
              <a:gd name="connsiteY13" fmla="*/ 210565 h 216916"/>
              <a:gd name="connsiteX14" fmla="*/ 55879 w 178308"/>
              <a:gd name="connsiteY14" fmla="*/ 205232 h 216916"/>
              <a:gd name="connsiteX15" fmla="*/ 62865 w 178308"/>
              <a:gd name="connsiteY15" fmla="*/ 204723 h 216916"/>
              <a:gd name="connsiteX16" fmla="*/ 80136 w 178308"/>
              <a:gd name="connsiteY16" fmla="*/ 196088 h 216916"/>
              <a:gd name="connsiteX17" fmla="*/ 82041 w 178308"/>
              <a:gd name="connsiteY17" fmla="*/ 174752 h 216916"/>
              <a:gd name="connsiteX18" fmla="*/ 72897 w 178308"/>
              <a:gd name="connsiteY18" fmla="*/ 24510 h 216916"/>
              <a:gd name="connsiteX19" fmla="*/ 49148 w 178308"/>
              <a:gd name="connsiteY19" fmla="*/ 25908 h 216916"/>
              <a:gd name="connsiteX20" fmla="*/ 29717 w 178308"/>
              <a:gd name="connsiteY20" fmla="*/ 29083 h 216916"/>
              <a:gd name="connsiteX21" fmla="*/ 17526 w 178308"/>
              <a:gd name="connsiteY21" fmla="*/ 40513 h 216916"/>
              <a:gd name="connsiteX22" fmla="*/ 12446 w 178308"/>
              <a:gd name="connsiteY22" fmla="*/ 62102 h 216916"/>
              <a:gd name="connsiteX23" fmla="*/ 6858 w 178308"/>
              <a:gd name="connsiteY23" fmla="*/ 62357 h 216916"/>
              <a:gd name="connsiteX24" fmla="*/ 6350 w 178308"/>
              <a:gd name="connsiteY24" fmla="*/ 16128 h 21691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</a:cxnLst>
            <a:rect l="l" t="t" r="r" b="b"/>
            <a:pathLst>
              <a:path w="178308" h="216916">
                <a:moveTo>
                  <a:pt x="6350" y="16128"/>
                </a:moveTo>
                <a:lnTo>
                  <a:pt x="167004" y="6350"/>
                </a:lnTo>
                <a:lnTo>
                  <a:pt x="171958" y="52323"/>
                </a:lnTo>
                <a:lnTo>
                  <a:pt x="166497" y="52704"/>
                </a:lnTo>
                <a:cubicBezTo>
                  <a:pt x="164972" y="44577"/>
                  <a:pt x="163067" y="38861"/>
                  <a:pt x="161035" y="35559"/>
                </a:cubicBezTo>
                <a:cubicBezTo>
                  <a:pt x="157734" y="30098"/>
                  <a:pt x="153416" y="26161"/>
                  <a:pt x="148335" y="23876"/>
                </a:cubicBezTo>
                <a:cubicBezTo>
                  <a:pt x="143128" y="21463"/>
                  <a:pt x="136525" y="20573"/>
                  <a:pt x="128397" y="21082"/>
                </a:cubicBezTo>
                <a:lnTo>
                  <a:pt x="100710" y="22733"/>
                </a:lnTo>
                <a:lnTo>
                  <a:pt x="109854" y="173101"/>
                </a:lnTo>
                <a:cubicBezTo>
                  <a:pt x="110616" y="185165"/>
                  <a:pt x="112395" y="192659"/>
                  <a:pt x="115189" y="195452"/>
                </a:cubicBezTo>
                <a:cubicBezTo>
                  <a:pt x="119126" y="199263"/>
                  <a:pt x="124841" y="201040"/>
                  <a:pt x="132588" y="200533"/>
                </a:cubicBezTo>
                <a:lnTo>
                  <a:pt x="139319" y="200152"/>
                </a:lnTo>
                <a:lnTo>
                  <a:pt x="139700" y="205485"/>
                </a:lnTo>
                <a:lnTo>
                  <a:pt x="56260" y="210565"/>
                </a:lnTo>
                <a:lnTo>
                  <a:pt x="55879" y="205232"/>
                </a:lnTo>
                <a:lnTo>
                  <a:pt x="62865" y="204723"/>
                </a:lnTo>
                <a:cubicBezTo>
                  <a:pt x="71247" y="204215"/>
                  <a:pt x="76961" y="201421"/>
                  <a:pt x="80136" y="196088"/>
                </a:cubicBezTo>
                <a:cubicBezTo>
                  <a:pt x="82041" y="192913"/>
                  <a:pt x="82677" y="185801"/>
                  <a:pt x="82041" y="174752"/>
                </a:cubicBezTo>
                <a:lnTo>
                  <a:pt x="72897" y="24510"/>
                </a:lnTo>
                <a:lnTo>
                  <a:pt x="49148" y="25908"/>
                </a:lnTo>
                <a:cubicBezTo>
                  <a:pt x="40004" y="26415"/>
                  <a:pt x="33528" y="27559"/>
                  <a:pt x="29717" y="29083"/>
                </a:cubicBezTo>
                <a:cubicBezTo>
                  <a:pt x="24765" y="31241"/>
                  <a:pt x="20701" y="35052"/>
                  <a:pt x="17526" y="40513"/>
                </a:cubicBezTo>
                <a:cubicBezTo>
                  <a:pt x="14223" y="45973"/>
                  <a:pt x="12572" y="53085"/>
                  <a:pt x="12446" y="62102"/>
                </a:cubicBezTo>
                <a:lnTo>
                  <a:pt x="6858" y="62357"/>
                </a:lnTo>
                <a:lnTo>
                  <a:pt x="6350" y="16128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3" name="Freeform 3"/>
          <p:cNvSpPr/>
          <p:nvPr/>
        </p:nvSpPr>
        <p:spPr>
          <a:xfrm>
            <a:off x="4797107" y="4754199"/>
            <a:ext cx="136288" cy="193179"/>
          </a:xfrm>
          <a:custGeom>
            <a:avLst/>
            <a:gdLst>
              <a:gd name="connsiteX0" fmla="*/ 59816 w 139064"/>
              <a:gd name="connsiteY0" fmla="*/ 6350 h 197103"/>
              <a:gd name="connsiteX1" fmla="*/ 19430 w 139064"/>
              <a:gd name="connsiteY1" fmla="*/ 29971 h 197103"/>
              <a:gd name="connsiteX2" fmla="*/ 6350 w 139064"/>
              <a:gd name="connsiteY2" fmla="*/ 102996 h 197103"/>
              <a:gd name="connsiteX3" fmla="*/ 34035 w 139064"/>
              <a:gd name="connsiteY3" fmla="*/ 175005 h 197103"/>
              <a:gd name="connsiteX4" fmla="*/ 77596 w 139064"/>
              <a:gd name="connsiteY4" fmla="*/ 190753 h 197103"/>
              <a:gd name="connsiteX5" fmla="*/ 121157 w 139064"/>
              <a:gd name="connsiteY5" fmla="*/ 164845 h 197103"/>
              <a:gd name="connsiteX6" fmla="*/ 132714 w 139064"/>
              <a:gd name="connsiteY6" fmla="*/ 95122 h 197103"/>
              <a:gd name="connsiteX7" fmla="*/ 105663 w 139064"/>
              <a:gd name="connsiteY7" fmla="*/ 21844 h 197103"/>
              <a:gd name="connsiteX8" fmla="*/ 59816 w 139064"/>
              <a:gd name="connsiteY8" fmla="*/ 6350 h 19710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139064" h="197103">
                <a:moveTo>
                  <a:pt x="59816" y="6350"/>
                </a:moveTo>
                <a:cubicBezTo>
                  <a:pt x="42290" y="8127"/>
                  <a:pt x="28828" y="15875"/>
                  <a:pt x="19430" y="29971"/>
                </a:cubicBezTo>
                <a:cubicBezTo>
                  <a:pt x="7746" y="47497"/>
                  <a:pt x="3428" y="71754"/>
                  <a:pt x="6350" y="102996"/>
                </a:cubicBezTo>
                <a:cubicBezTo>
                  <a:pt x="9525" y="135127"/>
                  <a:pt x="18669" y="159130"/>
                  <a:pt x="34035" y="175005"/>
                </a:cubicBezTo>
                <a:cubicBezTo>
                  <a:pt x="45846" y="187197"/>
                  <a:pt x="60325" y="192404"/>
                  <a:pt x="77596" y="190753"/>
                </a:cubicBezTo>
                <a:cubicBezTo>
                  <a:pt x="96011" y="188975"/>
                  <a:pt x="110489" y="180339"/>
                  <a:pt x="121157" y="164845"/>
                </a:cubicBezTo>
                <a:cubicBezTo>
                  <a:pt x="131825" y="149225"/>
                  <a:pt x="135635" y="125983"/>
                  <a:pt x="132714" y="95122"/>
                </a:cubicBezTo>
                <a:cubicBezTo>
                  <a:pt x="129412" y="61467"/>
                  <a:pt x="120522" y="37083"/>
                  <a:pt x="105663" y="21844"/>
                </a:cubicBezTo>
                <a:cubicBezTo>
                  <a:pt x="93852" y="9778"/>
                  <a:pt x="78485" y="4571"/>
                  <a:pt x="59816" y="6350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4" name="Freeform 3"/>
          <p:cNvSpPr/>
          <p:nvPr/>
        </p:nvSpPr>
        <p:spPr>
          <a:xfrm>
            <a:off x="4764747" y="4743619"/>
            <a:ext cx="200761" cy="213717"/>
          </a:xfrm>
          <a:custGeom>
            <a:avLst/>
            <a:gdLst>
              <a:gd name="connsiteX0" fmla="*/ 94614 w 204851"/>
              <a:gd name="connsiteY0" fmla="*/ 6350 h 218058"/>
              <a:gd name="connsiteX1" fmla="*/ 163576 w 204851"/>
              <a:gd name="connsiteY1" fmla="*/ 29083 h 218058"/>
              <a:gd name="connsiteX2" fmla="*/ 198501 w 204851"/>
              <a:gd name="connsiteY2" fmla="*/ 98805 h 218058"/>
              <a:gd name="connsiteX3" fmla="*/ 177291 w 204851"/>
              <a:gd name="connsiteY3" fmla="*/ 175767 h 218058"/>
              <a:gd name="connsiteX4" fmla="*/ 111886 w 204851"/>
              <a:gd name="connsiteY4" fmla="*/ 211708 h 218058"/>
              <a:gd name="connsiteX5" fmla="*/ 41020 w 204851"/>
              <a:gd name="connsiteY5" fmla="*/ 189483 h 218058"/>
              <a:gd name="connsiteX6" fmla="*/ 6350 w 204851"/>
              <a:gd name="connsiteY6" fmla="*/ 117601 h 218058"/>
              <a:gd name="connsiteX7" fmla="*/ 30860 w 204851"/>
              <a:gd name="connsiteY7" fmla="*/ 38353 h 218058"/>
              <a:gd name="connsiteX8" fmla="*/ 94614 w 204851"/>
              <a:gd name="connsiteY8" fmla="*/ 6350 h 21805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204851" h="218058">
                <a:moveTo>
                  <a:pt x="94614" y="6350"/>
                </a:moveTo>
                <a:cubicBezTo>
                  <a:pt x="120014" y="3936"/>
                  <a:pt x="143001" y="11429"/>
                  <a:pt x="163576" y="29083"/>
                </a:cubicBezTo>
                <a:cubicBezTo>
                  <a:pt x="184022" y="46608"/>
                  <a:pt x="195707" y="69850"/>
                  <a:pt x="198501" y="98805"/>
                </a:cubicBezTo>
                <a:cubicBezTo>
                  <a:pt x="201295" y="128651"/>
                  <a:pt x="194309" y="154177"/>
                  <a:pt x="177291" y="175767"/>
                </a:cubicBezTo>
                <a:cubicBezTo>
                  <a:pt x="160401" y="197230"/>
                  <a:pt x="138557" y="209169"/>
                  <a:pt x="111886" y="211708"/>
                </a:cubicBezTo>
                <a:cubicBezTo>
                  <a:pt x="84835" y="214376"/>
                  <a:pt x="61214" y="206883"/>
                  <a:pt x="41020" y="189483"/>
                </a:cubicBezTo>
                <a:cubicBezTo>
                  <a:pt x="20827" y="172084"/>
                  <a:pt x="9270" y="148082"/>
                  <a:pt x="6350" y="117601"/>
                </a:cubicBezTo>
                <a:cubicBezTo>
                  <a:pt x="3428" y="86486"/>
                  <a:pt x="11557" y="60070"/>
                  <a:pt x="30860" y="38353"/>
                </a:cubicBezTo>
                <a:cubicBezTo>
                  <a:pt x="47625" y="19430"/>
                  <a:pt x="68960" y="8763"/>
                  <a:pt x="94614" y="6350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5" name="Freeform 3"/>
          <p:cNvSpPr/>
          <p:nvPr/>
        </p:nvSpPr>
        <p:spPr>
          <a:xfrm>
            <a:off x="5007080" y="4740009"/>
            <a:ext cx="77043" cy="97585"/>
          </a:xfrm>
          <a:custGeom>
            <a:avLst/>
            <a:gdLst>
              <a:gd name="connsiteX0" fmla="*/ 24891 w 78613"/>
              <a:gd name="connsiteY0" fmla="*/ 6350 h 99567"/>
              <a:gd name="connsiteX1" fmla="*/ 6350 w 78613"/>
              <a:gd name="connsiteY1" fmla="*/ 11557 h 99567"/>
              <a:gd name="connsiteX2" fmla="*/ 17017 w 78613"/>
              <a:gd name="connsiteY2" fmla="*/ 92836 h 99567"/>
              <a:gd name="connsiteX3" fmla="*/ 30860 w 78613"/>
              <a:gd name="connsiteY3" fmla="*/ 93217 h 99567"/>
              <a:gd name="connsiteX4" fmla="*/ 41020 w 78613"/>
              <a:gd name="connsiteY4" fmla="*/ 92709 h 99567"/>
              <a:gd name="connsiteX5" fmla="*/ 65404 w 78613"/>
              <a:gd name="connsiteY5" fmla="*/ 77723 h 99567"/>
              <a:gd name="connsiteX6" fmla="*/ 72263 w 78613"/>
              <a:gd name="connsiteY6" fmla="*/ 46228 h 99567"/>
              <a:gd name="connsiteX7" fmla="*/ 64007 w 78613"/>
              <a:gd name="connsiteY7" fmla="*/ 23241 h 99567"/>
              <a:gd name="connsiteX8" fmla="*/ 47116 w 78613"/>
              <a:gd name="connsiteY8" fmla="*/ 8890 h 99567"/>
              <a:gd name="connsiteX9" fmla="*/ 24891 w 78613"/>
              <a:gd name="connsiteY9" fmla="*/ 6350 h 9956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</a:cxnLst>
            <a:rect l="l" t="t" r="r" b="b"/>
            <a:pathLst>
              <a:path w="78613" h="99567">
                <a:moveTo>
                  <a:pt x="24891" y="6350"/>
                </a:moveTo>
                <a:cubicBezTo>
                  <a:pt x="19938" y="6984"/>
                  <a:pt x="13715" y="8763"/>
                  <a:pt x="6350" y="11557"/>
                </a:cubicBezTo>
                <a:lnTo>
                  <a:pt x="17017" y="92836"/>
                </a:lnTo>
                <a:cubicBezTo>
                  <a:pt x="22225" y="93217"/>
                  <a:pt x="26796" y="93345"/>
                  <a:pt x="30860" y="93217"/>
                </a:cubicBezTo>
                <a:cubicBezTo>
                  <a:pt x="34797" y="93217"/>
                  <a:pt x="38226" y="92964"/>
                  <a:pt x="41020" y="92709"/>
                </a:cubicBezTo>
                <a:cubicBezTo>
                  <a:pt x="51053" y="91313"/>
                  <a:pt x="59182" y="86359"/>
                  <a:pt x="65404" y="77723"/>
                </a:cubicBezTo>
                <a:cubicBezTo>
                  <a:pt x="71627" y="68960"/>
                  <a:pt x="73913" y="58420"/>
                  <a:pt x="72263" y="46228"/>
                </a:cubicBezTo>
                <a:cubicBezTo>
                  <a:pt x="71246" y="37719"/>
                  <a:pt x="68452" y="30098"/>
                  <a:pt x="64007" y="23241"/>
                </a:cubicBezTo>
                <a:cubicBezTo>
                  <a:pt x="59563" y="16509"/>
                  <a:pt x="53975" y="11684"/>
                  <a:pt x="47116" y="8890"/>
                </a:cubicBezTo>
                <a:cubicBezTo>
                  <a:pt x="40385" y="6222"/>
                  <a:pt x="32892" y="5334"/>
                  <a:pt x="24891" y="6350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6" name="Freeform 3"/>
          <p:cNvSpPr/>
          <p:nvPr/>
        </p:nvSpPr>
        <p:spPr>
          <a:xfrm>
            <a:off x="4950697" y="4728932"/>
            <a:ext cx="165288" cy="213220"/>
          </a:xfrm>
          <a:custGeom>
            <a:avLst/>
            <a:gdLst>
              <a:gd name="connsiteX0" fmla="*/ 6350 w 168655"/>
              <a:gd name="connsiteY0" fmla="*/ 15747 h 217551"/>
              <a:gd name="connsiteX1" fmla="*/ 77977 w 168655"/>
              <a:gd name="connsiteY1" fmla="*/ 6350 h 217551"/>
              <a:gd name="connsiteX2" fmla="*/ 120014 w 168655"/>
              <a:gd name="connsiteY2" fmla="*/ 6350 h 217551"/>
              <a:gd name="connsiteX3" fmla="*/ 147954 w 168655"/>
              <a:gd name="connsiteY3" fmla="*/ 21208 h 217551"/>
              <a:gd name="connsiteX4" fmla="*/ 162305 w 168655"/>
              <a:gd name="connsiteY4" fmla="*/ 50291 h 217551"/>
              <a:gd name="connsiteX5" fmla="*/ 151638 w 168655"/>
              <a:gd name="connsiteY5" fmla="*/ 91312 h 217551"/>
              <a:gd name="connsiteX6" fmla="*/ 108965 w 168655"/>
              <a:gd name="connsiteY6" fmla="*/ 112140 h 217551"/>
              <a:gd name="connsiteX7" fmla="*/ 93598 w 168655"/>
              <a:gd name="connsiteY7" fmla="*/ 113156 h 217551"/>
              <a:gd name="connsiteX8" fmla="*/ 75564 w 168655"/>
              <a:gd name="connsiteY8" fmla="*/ 112394 h 217551"/>
              <a:gd name="connsiteX9" fmla="*/ 83057 w 168655"/>
              <a:gd name="connsiteY9" fmla="*/ 169290 h 217551"/>
              <a:gd name="connsiteX10" fmla="*/ 90169 w 168655"/>
              <a:gd name="connsiteY10" fmla="*/ 191769 h 217551"/>
              <a:gd name="connsiteX11" fmla="*/ 107569 w 168655"/>
              <a:gd name="connsiteY11" fmla="*/ 195833 h 217551"/>
              <a:gd name="connsiteX12" fmla="*/ 115061 w 168655"/>
              <a:gd name="connsiteY12" fmla="*/ 194944 h 217551"/>
              <a:gd name="connsiteX13" fmla="*/ 115696 w 168655"/>
              <a:gd name="connsiteY13" fmla="*/ 200278 h 217551"/>
              <a:gd name="connsiteX14" fmla="*/ 32003 w 168655"/>
              <a:gd name="connsiteY14" fmla="*/ 211200 h 217551"/>
              <a:gd name="connsiteX15" fmla="*/ 31241 w 168655"/>
              <a:gd name="connsiteY15" fmla="*/ 205866 h 217551"/>
              <a:gd name="connsiteX16" fmla="*/ 38607 w 168655"/>
              <a:gd name="connsiteY16" fmla="*/ 204977 h 217551"/>
              <a:gd name="connsiteX17" fmla="*/ 55371 w 168655"/>
              <a:gd name="connsiteY17" fmla="*/ 194563 h 217551"/>
              <a:gd name="connsiteX18" fmla="*/ 55371 w 168655"/>
              <a:gd name="connsiteY18" fmla="*/ 172973 h 217551"/>
              <a:gd name="connsiteX19" fmla="*/ 38861 w 168655"/>
              <a:gd name="connsiteY19" fmla="*/ 46735 h 217551"/>
              <a:gd name="connsiteX20" fmla="*/ 31876 w 168655"/>
              <a:gd name="connsiteY20" fmla="*/ 24256 h 217551"/>
              <a:gd name="connsiteX21" fmla="*/ 14351 w 168655"/>
              <a:gd name="connsiteY21" fmla="*/ 20192 h 217551"/>
              <a:gd name="connsiteX22" fmla="*/ 6984 w 168655"/>
              <a:gd name="connsiteY22" fmla="*/ 21081 h 217551"/>
              <a:gd name="connsiteX23" fmla="*/ 6350 w 168655"/>
              <a:gd name="connsiteY23" fmla="*/ 15747 h 21755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</a:cxnLst>
            <a:rect l="l" t="t" r="r" b="b"/>
            <a:pathLst>
              <a:path w="168655" h="217551">
                <a:moveTo>
                  <a:pt x="6350" y="15747"/>
                </a:moveTo>
                <a:lnTo>
                  <a:pt x="77977" y="6350"/>
                </a:lnTo>
                <a:cubicBezTo>
                  <a:pt x="95503" y="4063"/>
                  <a:pt x="109473" y="4063"/>
                  <a:pt x="120014" y="6350"/>
                </a:cubicBezTo>
                <a:cubicBezTo>
                  <a:pt x="130555" y="8635"/>
                  <a:pt x="139953" y="13588"/>
                  <a:pt x="147954" y="21208"/>
                </a:cubicBezTo>
                <a:cubicBezTo>
                  <a:pt x="155955" y="28828"/>
                  <a:pt x="160782" y="38607"/>
                  <a:pt x="162305" y="50291"/>
                </a:cubicBezTo>
                <a:cubicBezTo>
                  <a:pt x="164464" y="66294"/>
                  <a:pt x="160908" y="79882"/>
                  <a:pt x="151638" y="91312"/>
                </a:cubicBezTo>
                <a:cubicBezTo>
                  <a:pt x="142494" y="102615"/>
                  <a:pt x="128269" y="109600"/>
                  <a:pt x="108965" y="112140"/>
                </a:cubicBezTo>
                <a:cubicBezTo>
                  <a:pt x="104266" y="112775"/>
                  <a:pt x="99186" y="113029"/>
                  <a:pt x="93598" y="113156"/>
                </a:cubicBezTo>
                <a:cubicBezTo>
                  <a:pt x="88010" y="113156"/>
                  <a:pt x="82041" y="112902"/>
                  <a:pt x="75564" y="112394"/>
                </a:cubicBezTo>
                <a:lnTo>
                  <a:pt x="83057" y="169290"/>
                </a:lnTo>
                <a:cubicBezTo>
                  <a:pt x="84708" y="181609"/>
                  <a:pt x="86994" y="189102"/>
                  <a:pt x="90169" y="191769"/>
                </a:cubicBezTo>
                <a:cubicBezTo>
                  <a:pt x="94360" y="195452"/>
                  <a:pt x="100202" y="196850"/>
                  <a:pt x="107569" y="195833"/>
                </a:cubicBezTo>
                <a:lnTo>
                  <a:pt x="115061" y="194944"/>
                </a:lnTo>
                <a:lnTo>
                  <a:pt x="115696" y="200278"/>
                </a:lnTo>
                <a:lnTo>
                  <a:pt x="32003" y="211200"/>
                </a:lnTo>
                <a:lnTo>
                  <a:pt x="31241" y="205866"/>
                </a:lnTo>
                <a:lnTo>
                  <a:pt x="38607" y="204977"/>
                </a:lnTo>
                <a:cubicBezTo>
                  <a:pt x="46863" y="203834"/>
                  <a:pt x="52451" y="200405"/>
                  <a:pt x="55371" y="194563"/>
                </a:cubicBezTo>
                <a:cubicBezTo>
                  <a:pt x="56895" y="191261"/>
                  <a:pt x="56895" y="184150"/>
                  <a:pt x="55371" y="172973"/>
                </a:cubicBezTo>
                <a:lnTo>
                  <a:pt x="38861" y="46735"/>
                </a:lnTo>
                <a:cubicBezTo>
                  <a:pt x="37210" y="34416"/>
                  <a:pt x="34925" y="26923"/>
                  <a:pt x="31876" y="24256"/>
                </a:cubicBezTo>
                <a:cubicBezTo>
                  <a:pt x="27685" y="20573"/>
                  <a:pt x="21844" y="19176"/>
                  <a:pt x="14351" y="20192"/>
                </a:cubicBezTo>
                <a:lnTo>
                  <a:pt x="6984" y="21081"/>
                </a:lnTo>
                <a:lnTo>
                  <a:pt x="6350" y="15747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7" name="Freeform 3"/>
          <p:cNvSpPr/>
          <p:nvPr/>
        </p:nvSpPr>
        <p:spPr>
          <a:xfrm>
            <a:off x="5102046" y="4684993"/>
            <a:ext cx="242456" cy="236744"/>
          </a:xfrm>
          <a:custGeom>
            <a:avLst/>
            <a:gdLst>
              <a:gd name="connsiteX0" fmla="*/ 6350 w 247395"/>
              <a:gd name="connsiteY0" fmla="*/ 41020 h 241553"/>
              <a:gd name="connsiteX1" fmla="*/ 90169 w 247395"/>
              <a:gd name="connsiteY1" fmla="*/ 26542 h 241553"/>
              <a:gd name="connsiteX2" fmla="*/ 91058 w 247395"/>
              <a:gd name="connsiteY2" fmla="*/ 31876 h 241553"/>
              <a:gd name="connsiteX3" fmla="*/ 68833 w 247395"/>
              <a:gd name="connsiteY3" fmla="*/ 41528 h 241553"/>
              <a:gd name="connsiteX4" fmla="*/ 68071 w 247395"/>
              <a:gd name="connsiteY4" fmla="*/ 66801 h 241553"/>
              <a:gd name="connsiteX5" fmla="*/ 87248 w 247395"/>
              <a:gd name="connsiteY5" fmla="*/ 178688 h 241553"/>
              <a:gd name="connsiteX6" fmla="*/ 157606 w 247395"/>
              <a:gd name="connsiteY6" fmla="*/ 48005 h 241553"/>
              <a:gd name="connsiteX7" fmla="*/ 148208 w 247395"/>
              <a:gd name="connsiteY7" fmla="*/ 26923 h 241553"/>
              <a:gd name="connsiteX8" fmla="*/ 124459 w 247395"/>
              <a:gd name="connsiteY8" fmla="*/ 26161 h 241553"/>
              <a:gd name="connsiteX9" fmla="*/ 123570 w 247395"/>
              <a:gd name="connsiteY9" fmla="*/ 20827 h 241553"/>
              <a:gd name="connsiteX10" fmla="*/ 207644 w 247395"/>
              <a:gd name="connsiteY10" fmla="*/ 6350 h 241553"/>
              <a:gd name="connsiteX11" fmla="*/ 208533 w 247395"/>
              <a:gd name="connsiteY11" fmla="*/ 11683 h 241553"/>
              <a:gd name="connsiteX12" fmla="*/ 186562 w 247395"/>
              <a:gd name="connsiteY12" fmla="*/ 21335 h 241553"/>
              <a:gd name="connsiteX13" fmla="*/ 185673 w 247395"/>
              <a:gd name="connsiteY13" fmla="*/ 46608 h 241553"/>
              <a:gd name="connsiteX14" fmla="*/ 206882 w 247395"/>
              <a:gd name="connsiteY14" fmla="*/ 170052 h 241553"/>
              <a:gd name="connsiteX15" fmla="*/ 216153 w 247395"/>
              <a:gd name="connsiteY15" fmla="*/ 193547 h 241553"/>
              <a:gd name="connsiteX16" fmla="*/ 240156 w 247395"/>
              <a:gd name="connsiteY16" fmla="*/ 195325 h 241553"/>
              <a:gd name="connsiteX17" fmla="*/ 241045 w 247395"/>
              <a:gd name="connsiteY17" fmla="*/ 200659 h 241553"/>
              <a:gd name="connsiteX18" fmla="*/ 156971 w 247395"/>
              <a:gd name="connsiteY18" fmla="*/ 215137 h 241553"/>
              <a:gd name="connsiteX19" fmla="*/ 156082 w 247395"/>
              <a:gd name="connsiteY19" fmla="*/ 209803 h 241553"/>
              <a:gd name="connsiteX20" fmla="*/ 178561 w 247395"/>
              <a:gd name="connsiteY20" fmla="*/ 199897 h 241553"/>
              <a:gd name="connsiteX21" fmla="*/ 179450 w 247395"/>
              <a:gd name="connsiteY21" fmla="*/ 174751 h 241553"/>
              <a:gd name="connsiteX22" fmla="*/ 160273 w 247395"/>
              <a:gd name="connsiteY22" fmla="*/ 63372 h 241553"/>
              <a:gd name="connsiteX23" fmla="*/ 89915 w 247395"/>
              <a:gd name="connsiteY23" fmla="*/ 194309 h 241553"/>
              <a:gd name="connsiteX24" fmla="*/ 94487 w 247395"/>
              <a:gd name="connsiteY24" fmla="*/ 210692 h 241553"/>
              <a:gd name="connsiteX25" fmla="*/ 102615 w 247395"/>
              <a:gd name="connsiteY25" fmla="*/ 216153 h 241553"/>
              <a:gd name="connsiteX26" fmla="*/ 122681 w 247395"/>
              <a:gd name="connsiteY26" fmla="*/ 215518 h 241553"/>
              <a:gd name="connsiteX27" fmla="*/ 123570 w 247395"/>
              <a:gd name="connsiteY27" fmla="*/ 220852 h 241553"/>
              <a:gd name="connsiteX28" fmla="*/ 39750 w 247395"/>
              <a:gd name="connsiteY28" fmla="*/ 235203 h 241553"/>
              <a:gd name="connsiteX29" fmla="*/ 38861 w 247395"/>
              <a:gd name="connsiteY29" fmla="*/ 229996 h 241553"/>
              <a:gd name="connsiteX30" fmla="*/ 60959 w 247395"/>
              <a:gd name="connsiteY30" fmla="*/ 220217 h 241553"/>
              <a:gd name="connsiteX31" fmla="*/ 61721 w 247395"/>
              <a:gd name="connsiteY31" fmla="*/ 195071 h 241553"/>
              <a:gd name="connsiteX32" fmla="*/ 40512 w 247395"/>
              <a:gd name="connsiteY32" fmla="*/ 71500 h 241553"/>
              <a:gd name="connsiteX33" fmla="*/ 31369 w 247395"/>
              <a:gd name="connsiteY33" fmla="*/ 48005 h 241553"/>
              <a:gd name="connsiteX34" fmla="*/ 7365 w 247395"/>
              <a:gd name="connsiteY34" fmla="*/ 46227 h 241553"/>
              <a:gd name="connsiteX35" fmla="*/ 6350 w 247395"/>
              <a:gd name="connsiteY35" fmla="*/ 41020 h 24155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</a:cxnLst>
            <a:rect l="l" t="t" r="r" b="b"/>
            <a:pathLst>
              <a:path w="247395" h="241553">
                <a:moveTo>
                  <a:pt x="6350" y="41020"/>
                </a:moveTo>
                <a:lnTo>
                  <a:pt x="90169" y="26542"/>
                </a:lnTo>
                <a:lnTo>
                  <a:pt x="91058" y="31876"/>
                </a:lnTo>
                <a:cubicBezTo>
                  <a:pt x="78994" y="34289"/>
                  <a:pt x="71627" y="37591"/>
                  <a:pt x="68833" y="41528"/>
                </a:cubicBezTo>
                <a:cubicBezTo>
                  <a:pt x="66166" y="45592"/>
                  <a:pt x="65912" y="53975"/>
                  <a:pt x="68071" y="66801"/>
                </a:cubicBezTo>
                <a:lnTo>
                  <a:pt x="87248" y="178688"/>
                </a:lnTo>
                <a:lnTo>
                  <a:pt x="157606" y="48005"/>
                </a:lnTo>
                <a:cubicBezTo>
                  <a:pt x="155575" y="36321"/>
                  <a:pt x="152400" y="29336"/>
                  <a:pt x="148208" y="26923"/>
                </a:cubicBezTo>
                <a:cubicBezTo>
                  <a:pt x="143890" y="24383"/>
                  <a:pt x="136016" y="24129"/>
                  <a:pt x="124459" y="26161"/>
                </a:cubicBezTo>
                <a:lnTo>
                  <a:pt x="123570" y="20827"/>
                </a:lnTo>
                <a:lnTo>
                  <a:pt x="207644" y="6350"/>
                </a:lnTo>
                <a:lnTo>
                  <a:pt x="208533" y="11683"/>
                </a:lnTo>
                <a:cubicBezTo>
                  <a:pt x="196595" y="14096"/>
                  <a:pt x="189229" y="17398"/>
                  <a:pt x="186562" y="21335"/>
                </a:cubicBezTo>
                <a:cubicBezTo>
                  <a:pt x="183769" y="25400"/>
                  <a:pt x="183514" y="33781"/>
                  <a:pt x="185673" y="46608"/>
                </a:cubicBezTo>
                <a:lnTo>
                  <a:pt x="206882" y="170052"/>
                </a:lnTo>
                <a:cubicBezTo>
                  <a:pt x="209041" y="182879"/>
                  <a:pt x="212216" y="190753"/>
                  <a:pt x="216153" y="193547"/>
                </a:cubicBezTo>
                <a:cubicBezTo>
                  <a:pt x="220090" y="196468"/>
                  <a:pt x="228091" y="196976"/>
                  <a:pt x="240156" y="195325"/>
                </a:cubicBezTo>
                <a:lnTo>
                  <a:pt x="241045" y="200659"/>
                </a:lnTo>
                <a:lnTo>
                  <a:pt x="156971" y="215137"/>
                </a:lnTo>
                <a:lnTo>
                  <a:pt x="156082" y="209803"/>
                </a:lnTo>
                <a:cubicBezTo>
                  <a:pt x="168275" y="207263"/>
                  <a:pt x="175767" y="203961"/>
                  <a:pt x="178561" y="199897"/>
                </a:cubicBezTo>
                <a:cubicBezTo>
                  <a:pt x="181355" y="195960"/>
                  <a:pt x="181609" y="187578"/>
                  <a:pt x="179450" y="174751"/>
                </a:cubicBezTo>
                <a:lnTo>
                  <a:pt x="160273" y="63372"/>
                </a:lnTo>
                <a:lnTo>
                  <a:pt x="89915" y="194309"/>
                </a:lnTo>
                <a:cubicBezTo>
                  <a:pt x="91439" y="202564"/>
                  <a:pt x="92963" y="208025"/>
                  <a:pt x="94487" y="210692"/>
                </a:cubicBezTo>
                <a:cubicBezTo>
                  <a:pt x="96011" y="213359"/>
                  <a:pt x="98678" y="215137"/>
                  <a:pt x="102615" y="216153"/>
                </a:cubicBezTo>
                <a:cubicBezTo>
                  <a:pt x="106552" y="217169"/>
                  <a:pt x="113283" y="216915"/>
                  <a:pt x="122681" y="215518"/>
                </a:cubicBezTo>
                <a:lnTo>
                  <a:pt x="123570" y="220852"/>
                </a:lnTo>
                <a:lnTo>
                  <a:pt x="39750" y="235203"/>
                </a:lnTo>
                <a:lnTo>
                  <a:pt x="38861" y="229996"/>
                </a:lnTo>
                <a:cubicBezTo>
                  <a:pt x="50800" y="227456"/>
                  <a:pt x="58165" y="224281"/>
                  <a:pt x="60959" y="220217"/>
                </a:cubicBezTo>
                <a:cubicBezTo>
                  <a:pt x="63753" y="216280"/>
                  <a:pt x="64007" y="207771"/>
                  <a:pt x="61721" y="195071"/>
                </a:cubicBezTo>
                <a:lnTo>
                  <a:pt x="40512" y="71500"/>
                </a:lnTo>
                <a:cubicBezTo>
                  <a:pt x="38353" y="58673"/>
                  <a:pt x="35305" y="50926"/>
                  <a:pt x="31369" y="48005"/>
                </a:cubicBezTo>
                <a:cubicBezTo>
                  <a:pt x="27431" y="45211"/>
                  <a:pt x="19430" y="44576"/>
                  <a:pt x="7365" y="46227"/>
                </a:cubicBezTo>
                <a:lnTo>
                  <a:pt x="6350" y="4102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8" name="Freeform 3"/>
          <p:cNvSpPr/>
          <p:nvPr/>
        </p:nvSpPr>
        <p:spPr>
          <a:xfrm>
            <a:off x="5295836" y="4641551"/>
            <a:ext cx="250298" cy="245334"/>
          </a:xfrm>
          <a:custGeom>
            <a:avLst/>
            <a:gdLst>
              <a:gd name="connsiteX0" fmla="*/ 6350 w 255397"/>
              <a:gd name="connsiteY0" fmla="*/ 51816 h 250317"/>
              <a:gd name="connsiteX1" fmla="*/ 88646 w 255397"/>
              <a:gd name="connsiteY1" fmla="*/ 33020 h 250317"/>
              <a:gd name="connsiteX2" fmla="*/ 89916 w 255397"/>
              <a:gd name="connsiteY2" fmla="*/ 38227 h 250317"/>
              <a:gd name="connsiteX3" fmla="*/ 82930 w 255397"/>
              <a:gd name="connsiteY3" fmla="*/ 39878 h 250317"/>
              <a:gd name="connsiteX4" fmla="*/ 70739 w 255397"/>
              <a:gd name="connsiteY4" fmla="*/ 45973 h 250317"/>
              <a:gd name="connsiteX5" fmla="*/ 66294 w 255397"/>
              <a:gd name="connsiteY5" fmla="*/ 54355 h 250317"/>
              <a:gd name="connsiteX6" fmla="*/ 68834 w 255397"/>
              <a:gd name="connsiteY6" fmla="*/ 73405 h 250317"/>
              <a:gd name="connsiteX7" fmla="*/ 81407 w 255397"/>
              <a:gd name="connsiteY7" fmla="*/ 128397 h 250317"/>
              <a:gd name="connsiteX8" fmla="*/ 170688 w 255397"/>
              <a:gd name="connsiteY8" fmla="*/ 107950 h 250317"/>
              <a:gd name="connsiteX9" fmla="*/ 158115 w 255397"/>
              <a:gd name="connsiteY9" fmla="*/ 53085 h 250317"/>
              <a:gd name="connsiteX10" fmla="*/ 151892 w 255397"/>
              <a:gd name="connsiteY10" fmla="*/ 34035 h 250317"/>
              <a:gd name="connsiteX11" fmla="*/ 144526 w 255397"/>
              <a:gd name="connsiteY11" fmla="*/ 29336 h 250317"/>
              <a:gd name="connsiteX12" fmla="*/ 130810 w 255397"/>
              <a:gd name="connsiteY12" fmla="*/ 28829 h 250317"/>
              <a:gd name="connsiteX13" fmla="*/ 124079 w 255397"/>
              <a:gd name="connsiteY13" fmla="*/ 30479 h 250317"/>
              <a:gd name="connsiteX14" fmla="*/ 122809 w 255397"/>
              <a:gd name="connsiteY14" fmla="*/ 25146 h 250317"/>
              <a:gd name="connsiteX15" fmla="*/ 204978 w 255397"/>
              <a:gd name="connsiteY15" fmla="*/ 6350 h 250317"/>
              <a:gd name="connsiteX16" fmla="*/ 206248 w 255397"/>
              <a:gd name="connsiteY16" fmla="*/ 11557 h 250317"/>
              <a:gd name="connsiteX17" fmla="*/ 199390 w 255397"/>
              <a:gd name="connsiteY17" fmla="*/ 13208 h 250317"/>
              <a:gd name="connsiteX18" fmla="*/ 187325 w 255397"/>
              <a:gd name="connsiteY18" fmla="*/ 19430 h 250317"/>
              <a:gd name="connsiteX19" fmla="*/ 182626 w 255397"/>
              <a:gd name="connsiteY19" fmla="*/ 27685 h 250317"/>
              <a:gd name="connsiteX20" fmla="*/ 185292 w 255397"/>
              <a:gd name="connsiteY20" fmla="*/ 46863 h 250317"/>
              <a:gd name="connsiteX21" fmla="*/ 213741 w 255397"/>
              <a:gd name="connsiteY21" fmla="*/ 170815 h 250317"/>
              <a:gd name="connsiteX22" fmla="*/ 219964 w 255397"/>
              <a:gd name="connsiteY22" fmla="*/ 189610 h 250317"/>
              <a:gd name="connsiteX23" fmla="*/ 227203 w 255397"/>
              <a:gd name="connsiteY23" fmla="*/ 194436 h 250317"/>
              <a:gd name="connsiteX24" fmla="*/ 241046 w 255397"/>
              <a:gd name="connsiteY24" fmla="*/ 194817 h 250317"/>
              <a:gd name="connsiteX25" fmla="*/ 247777 w 255397"/>
              <a:gd name="connsiteY25" fmla="*/ 193294 h 250317"/>
              <a:gd name="connsiteX26" fmla="*/ 249047 w 255397"/>
              <a:gd name="connsiteY26" fmla="*/ 198501 h 250317"/>
              <a:gd name="connsiteX27" fmla="*/ 166878 w 255397"/>
              <a:gd name="connsiteY27" fmla="*/ 217297 h 250317"/>
              <a:gd name="connsiteX28" fmla="*/ 165608 w 255397"/>
              <a:gd name="connsiteY28" fmla="*/ 212090 h 250317"/>
              <a:gd name="connsiteX29" fmla="*/ 172466 w 255397"/>
              <a:gd name="connsiteY29" fmla="*/ 210566 h 250317"/>
              <a:gd name="connsiteX30" fmla="*/ 187960 w 255397"/>
              <a:gd name="connsiteY30" fmla="*/ 199644 h 250317"/>
              <a:gd name="connsiteX31" fmla="*/ 186563 w 255397"/>
              <a:gd name="connsiteY31" fmla="*/ 177038 h 250317"/>
              <a:gd name="connsiteX32" fmla="*/ 173101 w 255397"/>
              <a:gd name="connsiteY32" fmla="*/ 118491 h 250317"/>
              <a:gd name="connsiteX33" fmla="*/ 83820 w 255397"/>
              <a:gd name="connsiteY33" fmla="*/ 138938 h 250317"/>
              <a:gd name="connsiteX34" fmla="*/ 97282 w 255397"/>
              <a:gd name="connsiteY34" fmla="*/ 197485 h 250317"/>
              <a:gd name="connsiteX35" fmla="*/ 103505 w 255397"/>
              <a:gd name="connsiteY35" fmla="*/ 216280 h 250317"/>
              <a:gd name="connsiteX36" fmla="*/ 110871 w 255397"/>
              <a:gd name="connsiteY36" fmla="*/ 220979 h 250317"/>
              <a:gd name="connsiteX37" fmla="*/ 124586 w 255397"/>
              <a:gd name="connsiteY37" fmla="*/ 221488 h 250317"/>
              <a:gd name="connsiteX38" fmla="*/ 131445 w 255397"/>
              <a:gd name="connsiteY38" fmla="*/ 219836 h 250317"/>
              <a:gd name="connsiteX39" fmla="*/ 132715 w 255397"/>
              <a:gd name="connsiteY39" fmla="*/ 225171 h 250317"/>
              <a:gd name="connsiteX40" fmla="*/ 50292 w 255397"/>
              <a:gd name="connsiteY40" fmla="*/ 243966 h 250317"/>
              <a:gd name="connsiteX41" fmla="*/ 49148 w 255397"/>
              <a:gd name="connsiteY41" fmla="*/ 238760 h 250317"/>
              <a:gd name="connsiteX42" fmla="*/ 56007 w 255397"/>
              <a:gd name="connsiteY42" fmla="*/ 237235 h 250317"/>
              <a:gd name="connsiteX43" fmla="*/ 71628 w 255397"/>
              <a:gd name="connsiteY43" fmla="*/ 226314 h 250317"/>
              <a:gd name="connsiteX44" fmla="*/ 70104 w 255397"/>
              <a:gd name="connsiteY44" fmla="*/ 203708 h 250317"/>
              <a:gd name="connsiteX45" fmla="*/ 41655 w 255397"/>
              <a:gd name="connsiteY45" fmla="*/ 79755 h 250317"/>
              <a:gd name="connsiteX46" fmla="*/ 35433 w 255397"/>
              <a:gd name="connsiteY46" fmla="*/ 60705 h 250317"/>
              <a:gd name="connsiteX47" fmla="*/ 28194 w 255397"/>
              <a:gd name="connsiteY47" fmla="*/ 55879 h 250317"/>
              <a:gd name="connsiteX48" fmla="*/ 14351 w 255397"/>
              <a:gd name="connsiteY48" fmla="*/ 55498 h 250317"/>
              <a:gd name="connsiteX49" fmla="*/ 7620 w 255397"/>
              <a:gd name="connsiteY49" fmla="*/ 57023 h 250317"/>
              <a:gd name="connsiteX50" fmla="*/ 6350 w 255397"/>
              <a:gd name="connsiteY50" fmla="*/ 51816 h 25031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  <a:cxn ang="36">
                <a:pos x="connsiteX36" y="connsiteY36"/>
              </a:cxn>
              <a:cxn ang="37">
                <a:pos x="connsiteX37" y="connsiteY37"/>
              </a:cxn>
              <a:cxn ang="38">
                <a:pos x="connsiteX38" y="connsiteY38"/>
              </a:cxn>
              <a:cxn ang="39">
                <a:pos x="connsiteX39" y="connsiteY39"/>
              </a:cxn>
              <a:cxn ang="40">
                <a:pos x="connsiteX40" y="connsiteY40"/>
              </a:cxn>
              <a:cxn ang="41">
                <a:pos x="connsiteX41" y="connsiteY41"/>
              </a:cxn>
              <a:cxn ang="42">
                <a:pos x="connsiteX42" y="connsiteY42"/>
              </a:cxn>
              <a:cxn ang="43">
                <a:pos x="connsiteX43" y="connsiteY43"/>
              </a:cxn>
              <a:cxn ang="44">
                <a:pos x="connsiteX44" y="connsiteY44"/>
              </a:cxn>
              <a:cxn ang="45">
                <a:pos x="connsiteX45" y="connsiteY45"/>
              </a:cxn>
              <a:cxn ang="46">
                <a:pos x="connsiteX46" y="connsiteY46"/>
              </a:cxn>
              <a:cxn ang="47">
                <a:pos x="connsiteX47" y="connsiteY47"/>
              </a:cxn>
              <a:cxn ang="48">
                <a:pos x="connsiteX48" y="connsiteY48"/>
              </a:cxn>
              <a:cxn ang="49">
                <a:pos x="connsiteX49" y="connsiteY49"/>
              </a:cxn>
              <a:cxn ang="50">
                <a:pos x="connsiteX50" y="connsiteY50"/>
              </a:cxn>
            </a:cxnLst>
            <a:rect l="l" t="t" r="r" b="b"/>
            <a:pathLst>
              <a:path w="255397" h="250317">
                <a:moveTo>
                  <a:pt x="6350" y="51816"/>
                </a:moveTo>
                <a:lnTo>
                  <a:pt x="88646" y="33020"/>
                </a:lnTo>
                <a:lnTo>
                  <a:pt x="89916" y="38227"/>
                </a:lnTo>
                <a:lnTo>
                  <a:pt x="82930" y="39878"/>
                </a:lnTo>
                <a:cubicBezTo>
                  <a:pt x="78359" y="40894"/>
                  <a:pt x="74422" y="42926"/>
                  <a:pt x="70739" y="45973"/>
                </a:cubicBezTo>
                <a:cubicBezTo>
                  <a:pt x="68198" y="48260"/>
                  <a:pt x="66675" y="50927"/>
                  <a:pt x="66294" y="54355"/>
                </a:cubicBezTo>
                <a:cubicBezTo>
                  <a:pt x="65913" y="57658"/>
                  <a:pt x="66675" y="64008"/>
                  <a:pt x="68834" y="73405"/>
                </a:cubicBezTo>
                <a:lnTo>
                  <a:pt x="81407" y="128397"/>
                </a:lnTo>
                <a:lnTo>
                  <a:pt x="170688" y="107950"/>
                </a:lnTo>
                <a:lnTo>
                  <a:pt x="158115" y="53085"/>
                </a:lnTo>
                <a:cubicBezTo>
                  <a:pt x="155955" y="43179"/>
                  <a:pt x="153797" y="36829"/>
                  <a:pt x="151892" y="34035"/>
                </a:cubicBezTo>
                <a:cubicBezTo>
                  <a:pt x="150367" y="31877"/>
                  <a:pt x="147955" y="30353"/>
                  <a:pt x="144526" y="29336"/>
                </a:cubicBezTo>
                <a:cubicBezTo>
                  <a:pt x="139954" y="27940"/>
                  <a:pt x="135382" y="27813"/>
                  <a:pt x="130810" y="28829"/>
                </a:cubicBezTo>
                <a:lnTo>
                  <a:pt x="124079" y="30479"/>
                </a:lnTo>
                <a:lnTo>
                  <a:pt x="122809" y="25146"/>
                </a:lnTo>
                <a:lnTo>
                  <a:pt x="204978" y="6350"/>
                </a:lnTo>
                <a:lnTo>
                  <a:pt x="206248" y="11557"/>
                </a:lnTo>
                <a:lnTo>
                  <a:pt x="199390" y="13208"/>
                </a:lnTo>
                <a:cubicBezTo>
                  <a:pt x="194945" y="14223"/>
                  <a:pt x="190880" y="16255"/>
                  <a:pt x="187325" y="19430"/>
                </a:cubicBezTo>
                <a:cubicBezTo>
                  <a:pt x="184658" y="21590"/>
                  <a:pt x="183007" y="24384"/>
                  <a:pt x="182626" y="27685"/>
                </a:cubicBezTo>
                <a:cubicBezTo>
                  <a:pt x="182245" y="30988"/>
                  <a:pt x="183134" y="37338"/>
                  <a:pt x="185292" y="46863"/>
                </a:cubicBezTo>
                <a:lnTo>
                  <a:pt x="213741" y="170815"/>
                </a:lnTo>
                <a:cubicBezTo>
                  <a:pt x="215900" y="180466"/>
                  <a:pt x="218059" y="186816"/>
                  <a:pt x="219964" y="189610"/>
                </a:cubicBezTo>
                <a:cubicBezTo>
                  <a:pt x="221488" y="191770"/>
                  <a:pt x="223901" y="193421"/>
                  <a:pt x="227203" y="194436"/>
                </a:cubicBezTo>
                <a:cubicBezTo>
                  <a:pt x="231902" y="195707"/>
                  <a:pt x="236473" y="195834"/>
                  <a:pt x="241046" y="194817"/>
                </a:cubicBezTo>
                <a:lnTo>
                  <a:pt x="247777" y="193294"/>
                </a:lnTo>
                <a:lnTo>
                  <a:pt x="249047" y="198501"/>
                </a:lnTo>
                <a:lnTo>
                  <a:pt x="166878" y="217297"/>
                </a:lnTo>
                <a:lnTo>
                  <a:pt x="165608" y="212090"/>
                </a:lnTo>
                <a:lnTo>
                  <a:pt x="172466" y="210566"/>
                </a:lnTo>
                <a:cubicBezTo>
                  <a:pt x="180213" y="208788"/>
                  <a:pt x="185420" y="205104"/>
                  <a:pt x="187960" y="199644"/>
                </a:cubicBezTo>
                <a:cubicBezTo>
                  <a:pt x="189611" y="196088"/>
                  <a:pt x="189103" y="188595"/>
                  <a:pt x="186563" y="177038"/>
                </a:cubicBezTo>
                <a:lnTo>
                  <a:pt x="173101" y="118491"/>
                </a:lnTo>
                <a:lnTo>
                  <a:pt x="83820" y="138938"/>
                </a:lnTo>
                <a:lnTo>
                  <a:pt x="97282" y="197485"/>
                </a:lnTo>
                <a:cubicBezTo>
                  <a:pt x="99441" y="207136"/>
                  <a:pt x="101600" y="213486"/>
                  <a:pt x="103505" y="216280"/>
                </a:cubicBezTo>
                <a:cubicBezTo>
                  <a:pt x="105029" y="218440"/>
                  <a:pt x="107442" y="219964"/>
                  <a:pt x="110871" y="220979"/>
                </a:cubicBezTo>
                <a:cubicBezTo>
                  <a:pt x="115442" y="222377"/>
                  <a:pt x="120015" y="222504"/>
                  <a:pt x="124586" y="221488"/>
                </a:cubicBezTo>
                <a:lnTo>
                  <a:pt x="131445" y="219836"/>
                </a:lnTo>
                <a:lnTo>
                  <a:pt x="132715" y="225171"/>
                </a:lnTo>
                <a:lnTo>
                  <a:pt x="50292" y="243966"/>
                </a:lnTo>
                <a:lnTo>
                  <a:pt x="49148" y="238760"/>
                </a:lnTo>
                <a:lnTo>
                  <a:pt x="56007" y="237235"/>
                </a:lnTo>
                <a:cubicBezTo>
                  <a:pt x="63880" y="235330"/>
                  <a:pt x="69088" y="231775"/>
                  <a:pt x="71628" y="226314"/>
                </a:cubicBezTo>
                <a:cubicBezTo>
                  <a:pt x="73279" y="222758"/>
                  <a:pt x="72644" y="215265"/>
                  <a:pt x="70104" y="203708"/>
                </a:cubicBezTo>
                <a:lnTo>
                  <a:pt x="41655" y="79755"/>
                </a:lnTo>
                <a:cubicBezTo>
                  <a:pt x="39370" y="69850"/>
                  <a:pt x="37338" y="63500"/>
                  <a:pt x="35433" y="60705"/>
                </a:cubicBezTo>
                <a:cubicBezTo>
                  <a:pt x="33909" y="58547"/>
                  <a:pt x="31496" y="57023"/>
                  <a:pt x="28194" y="55879"/>
                </a:cubicBezTo>
                <a:cubicBezTo>
                  <a:pt x="23495" y="54610"/>
                  <a:pt x="18923" y="54483"/>
                  <a:pt x="14351" y="55498"/>
                </a:cubicBezTo>
                <a:lnTo>
                  <a:pt x="7620" y="57023"/>
                </a:lnTo>
                <a:lnTo>
                  <a:pt x="6350" y="51816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9" name="Freeform 3"/>
          <p:cNvSpPr/>
          <p:nvPr/>
        </p:nvSpPr>
        <p:spPr>
          <a:xfrm>
            <a:off x="5487262" y="4596991"/>
            <a:ext cx="174499" cy="242594"/>
          </a:xfrm>
          <a:custGeom>
            <a:avLst/>
            <a:gdLst>
              <a:gd name="connsiteX0" fmla="*/ 6350 w 178054"/>
              <a:gd name="connsiteY0" fmla="*/ 52704 h 247522"/>
              <a:gd name="connsiteX1" fmla="*/ 157479 w 178054"/>
              <a:gd name="connsiteY1" fmla="*/ 6350 h 247522"/>
              <a:gd name="connsiteX2" fmla="*/ 171704 w 178054"/>
              <a:gd name="connsiteY2" fmla="*/ 50164 h 247522"/>
              <a:gd name="connsiteX3" fmla="*/ 166370 w 178054"/>
              <a:gd name="connsiteY3" fmla="*/ 51815 h 247522"/>
              <a:gd name="connsiteX4" fmla="*/ 154051 w 178054"/>
              <a:gd name="connsiteY4" fmla="*/ 32257 h 247522"/>
              <a:gd name="connsiteX5" fmla="*/ 138303 w 178054"/>
              <a:gd name="connsiteY5" fmla="*/ 25907 h 247522"/>
              <a:gd name="connsiteX6" fmla="*/ 116204 w 178054"/>
              <a:gd name="connsiteY6" fmla="*/ 30226 h 247522"/>
              <a:gd name="connsiteX7" fmla="*/ 63372 w 178054"/>
              <a:gd name="connsiteY7" fmla="*/ 46482 h 247522"/>
              <a:gd name="connsiteX8" fmla="*/ 107441 w 178054"/>
              <a:gd name="connsiteY8" fmla="*/ 190245 h 247522"/>
              <a:gd name="connsiteX9" fmla="*/ 119507 w 178054"/>
              <a:gd name="connsiteY9" fmla="*/ 212470 h 247522"/>
              <a:gd name="connsiteX10" fmla="*/ 143383 w 178054"/>
              <a:gd name="connsiteY10" fmla="*/ 211201 h 247522"/>
              <a:gd name="connsiteX11" fmla="*/ 144907 w 178054"/>
              <a:gd name="connsiteY11" fmla="*/ 216407 h 247522"/>
              <a:gd name="connsiteX12" fmla="*/ 64008 w 178054"/>
              <a:gd name="connsiteY12" fmla="*/ 241172 h 247522"/>
              <a:gd name="connsiteX13" fmla="*/ 62484 w 178054"/>
              <a:gd name="connsiteY13" fmla="*/ 235965 h 247522"/>
              <a:gd name="connsiteX14" fmla="*/ 83185 w 178054"/>
              <a:gd name="connsiteY14" fmla="*/ 223646 h 247522"/>
              <a:gd name="connsiteX15" fmla="*/ 80772 w 178054"/>
              <a:gd name="connsiteY15" fmla="*/ 198501 h 247522"/>
              <a:gd name="connsiteX16" fmla="*/ 44069 w 178054"/>
              <a:gd name="connsiteY16" fmla="*/ 78739 h 247522"/>
              <a:gd name="connsiteX17" fmla="*/ 32004 w 178054"/>
              <a:gd name="connsiteY17" fmla="*/ 56514 h 247522"/>
              <a:gd name="connsiteX18" fmla="*/ 7873 w 178054"/>
              <a:gd name="connsiteY18" fmla="*/ 57784 h 247522"/>
              <a:gd name="connsiteX19" fmla="*/ 6350 w 178054"/>
              <a:gd name="connsiteY19" fmla="*/ 52704 h 247522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</a:cxnLst>
            <a:rect l="l" t="t" r="r" b="b"/>
            <a:pathLst>
              <a:path w="178054" h="247522">
                <a:moveTo>
                  <a:pt x="6350" y="52704"/>
                </a:moveTo>
                <a:lnTo>
                  <a:pt x="157479" y="6350"/>
                </a:lnTo>
                <a:lnTo>
                  <a:pt x="171704" y="50164"/>
                </a:lnTo>
                <a:lnTo>
                  <a:pt x="166370" y="51815"/>
                </a:lnTo>
                <a:cubicBezTo>
                  <a:pt x="163195" y="43052"/>
                  <a:pt x="159130" y="36576"/>
                  <a:pt x="154051" y="32257"/>
                </a:cubicBezTo>
                <a:cubicBezTo>
                  <a:pt x="148971" y="27939"/>
                  <a:pt x="143764" y="25780"/>
                  <a:pt x="138303" y="25907"/>
                </a:cubicBezTo>
                <a:cubicBezTo>
                  <a:pt x="132969" y="25907"/>
                  <a:pt x="125603" y="27432"/>
                  <a:pt x="116204" y="30226"/>
                </a:cubicBezTo>
                <a:lnTo>
                  <a:pt x="63372" y="46482"/>
                </a:lnTo>
                <a:lnTo>
                  <a:pt x="107441" y="190245"/>
                </a:lnTo>
                <a:cubicBezTo>
                  <a:pt x="111252" y="202691"/>
                  <a:pt x="115316" y="210057"/>
                  <a:pt x="119507" y="212470"/>
                </a:cubicBezTo>
                <a:cubicBezTo>
                  <a:pt x="123697" y="214883"/>
                  <a:pt x="131698" y="214376"/>
                  <a:pt x="143383" y="211201"/>
                </a:cubicBezTo>
                <a:lnTo>
                  <a:pt x="144907" y="216407"/>
                </a:lnTo>
                <a:lnTo>
                  <a:pt x="64008" y="241172"/>
                </a:lnTo>
                <a:lnTo>
                  <a:pt x="62484" y="235965"/>
                </a:lnTo>
                <a:cubicBezTo>
                  <a:pt x="74041" y="232028"/>
                  <a:pt x="80898" y="227964"/>
                  <a:pt x="83185" y="223646"/>
                </a:cubicBezTo>
                <a:cubicBezTo>
                  <a:pt x="85344" y="219328"/>
                  <a:pt x="84582" y="210946"/>
                  <a:pt x="80772" y="198501"/>
                </a:cubicBezTo>
                <a:lnTo>
                  <a:pt x="44069" y="78739"/>
                </a:lnTo>
                <a:cubicBezTo>
                  <a:pt x="40259" y="66294"/>
                  <a:pt x="36195" y="58927"/>
                  <a:pt x="32004" y="56514"/>
                </a:cubicBezTo>
                <a:cubicBezTo>
                  <a:pt x="27685" y="54228"/>
                  <a:pt x="19685" y="54609"/>
                  <a:pt x="7873" y="57784"/>
                </a:cubicBezTo>
                <a:lnTo>
                  <a:pt x="6350" y="5270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0" name="Freeform 3"/>
          <p:cNvSpPr/>
          <p:nvPr/>
        </p:nvSpPr>
        <p:spPr>
          <a:xfrm>
            <a:off x="1406449" y="4031266"/>
            <a:ext cx="133550" cy="119742"/>
          </a:xfrm>
          <a:custGeom>
            <a:avLst/>
            <a:gdLst>
              <a:gd name="connsiteX0" fmla="*/ 28575 w 136271"/>
              <a:gd name="connsiteY0" fmla="*/ 115823 h 122174"/>
              <a:gd name="connsiteX1" fmla="*/ 19811 w 136271"/>
              <a:gd name="connsiteY1" fmla="*/ 72771 h 122174"/>
              <a:gd name="connsiteX2" fmla="*/ 22733 w 136271"/>
              <a:gd name="connsiteY2" fmla="*/ 72135 h 122174"/>
              <a:gd name="connsiteX3" fmla="*/ 31114 w 136271"/>
              <a:gd name="connsiteY3" fmla="*/ 82296 h 122174"/>
              <a:gd name="connsiteX4" fmla="*/ 48005 w 136271"/>
              <a:gd name="connsiteY4" fmla="*/ 70104 h 122174"/>
              <a:gd name="connsiteX5" fmla="*/ 83947 w 136271"/>
              <a:gd name="connsiteY5" fmla="*/ 38735 h 122174"/>
              <a:gd name="connsiteX6" fmla="*/ 39877 w 136271"/>
              <a:gd name="connsiteY6" fmla="*/ 30098 h 122174"/>
              <a:gd name="connsiteX7" fmla="*/ 21589 w 136271"/>
              <a:gd name="connsiteY7" fmla="*/ 28321 h 122174"/>
              <a:gd name="connsiteX8" fmla="*/ 16002 w 136271"/>
              <a:gd name="connsiteY8" fmla="*/ 39623 h 122174"/>
              <a:gd name="connsiteX9" fmla="*/ 13208 w 136271"/>
              <a:gd name="connsiteY9" fmla="*/ 40259 h 122174"/>
              <a:gd name="connsiteX10" fmla="*/ 6350 w 136271"/>
              <a:gd name="connsiteY10" fmla="*/ 6985 h 122174"/>
              <a:gd name="connsiteX11" fmla="*/ 9271 w 136271"/>
              <a:gd name="connsiteY11" fmla="*/ 6350 h 122174"/>
              <a:gd name="connsiteX12" fmla="*/ 28828 w 136271"/>
              <a:gd name="connsiteY12" fmla="*/ 20954 h 122174"/>
              <a:gd name="connsiteX13" fmla="*/ 81152 w 136271"/>
              <a:gd name="connsiteY13" fmla="*/ 31496 h 122174"/>
              <a:gd name="connsiteX14" fmla="*/ 110108 w 136271"/>
              <a:gd name="connsiteY14" fmla="*/ 38861 h 122174"/>
              <a:gd name="connsiteX15" fmla="*/ 123825 w 136271"/>
              <a:gd name="connsiteY15" fmla="*/ 47371 h 122174"/>
              <a:gd name="connsiteX16" fmla="*/ 129921 w 136271"/>
              <a:gd name="connsiteY16" fmla="*/ 58673 h 122174"/>
              <a:gd name="connsiteX17" fmla="*/ 129413 w 136271"/>
              <a:gd name="connsiteY17" fmla="*/ 68326 h 122174"/>
              <a:gd name="connsiteX18" fmla="*/ 123952 w 136271"/>
              <a:gd name="connsiteY18" fmla="*/ 73279 h 122174"/>
              <a:gd name="connsiteX19" fmla="*/ 118744 w 136271"/>
              <a:gd name="connsiteY19" fmla="*/ 72263 h 122174"/>
              <a:gd name="connsiteX20" fmla="*/ 115697 w 136271"/>
              <a:gd name="connsiteY20" fmla="*/ 67310 h 122174"/>
              <a:gd name="connsiteX21" fmla="*/ 116839 w 136271"/>
              <a:gd name="connsiteY21" fmla="*/ 58928 h 122174"/>
              <a:gd name="connsiteX22" fmla="*/ 117475 w 136271"/>
              <a:gd name="connsiteY22" fmla="*/ 54102 h 122174"/>
              <a:gd name="connsiteX23" fmla="*/ 101853 w 136271"/>
              <a:gd name="connsiteY23" fmla="*/ 42798 h 122174"/>
              <a:gd name="connsiteX24" fmla="*/ 42036 w 136271"/>
              <a:gd name="connsiteY24" fmla="*/ 95122 h 122174"/>
              <a:gd name="connsiteX25" fmla="*/ 33527 w 136271"/>
              <a:gd name="connsiteY25" fmla="*/ 104775 h 122174"/>
              <a:gd name="connsiteX26" fmla="*/ 31496 w 136271"/>
              <a:gd name="connsiteY26" fmla="*/ 115189 h 122174"/>
              <a:gd name="connsiteX27" fmla="*/ 28575 w 136271"/>
              <a:gd name="connsiteY27" fmla="*/ 115823 h 12217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</a:cxnLst>
            <a:rect l="l" t="t" r="r" b="b"/>
            <a:pathLst>
              <a:path w="136271" h="122174">
                <a:moveTo>
                  <a:pt x="28575" y="115823"/>
                </a:moveTo>
                <a:lnTo>
                  <a:pt x="19811" y="72771"/>
                </a:lnTo>
                <a:lnTo>
                  <a:pt x="22733" y="72135"/>
                </a:lnTo>
                <a:cubicBezTo>
                  <a:pt x="24511" y="79629"/>
                  <a:pt x="27305" y="83058"/>
                  <a:pt x="31114" y="82296"/>
                </a:cubicBezTo>
                <a:cubicBezTo>
                  <a:pt x="33782" y="81788"/>
                  <a:pt x="39369" y="77723"/>
                  <a:pt x="48005" y="70104"/>
                </a:cubicBezTo>
                <a:lnTo>
                  <a:pt x="83947" y="38735"/>
                </a:lnTo>
                <a:lnTo>
                  <a:pt x="39877" y="30098"/>
                </a:lnTo>
                <a:cubicBezTo>
                  <a:pt x="30607" y="28321"/>
                  <a:pt x="24511" y="27685"/>
                  <a:pt x="21589" y="28321"/>
                </a:cubicBezTo>
                <a:cubicBezTo>
                  <a:pt x="17525" y="29083"/>
                  <a:pt x="15621" y="32892"/>
                  <a:pt x="16002" y="39623"/>
                </a:cubicBezTo>
                <a:lnTo>
                  <a:pt x="13208" y="40259"/>
                </a:lnTo>
                <a:lnTo>
                  <a:pt x="6350" y="6985"/>
                </a:lnTo>
                <a:lnTo>
                  <a:pt x="9271" y="6350"/>
                </a:lnTo>
                <a:cubicBezTo>
                  <a:pt x="11811" y="14097"/>
                  <a:pt x="18414" y="18922"/>
                  <a:pt x="28828" y="20954"/>
                </a:cubicBezTo>
                <a:lnTo>
                  <a:pt x="81152" y="31496"/>
                </a:lnTo>
                <a:cubicBezTo>
                  <a:pt x="94614" y="34163"/>
                  <a:pt x="104266" y="36703"/>
                  <a:pt x="110108" y="38861"/>
                </a:cubicBezTo>
                <a:cubicBezTo>
                  <a:pt x="116077" y="41147"/>
                  <a:pt x="120650" y="43941"/>
                  <a:pt x="123825" y="47371"/>
                </a:cubicBezTo>
                <a:cubicBezTo>
                  <a:pt x="127000" y="50672"/>
                  <a:pt x="129032" y="54483"/>
                  <a:pt x="129921" y="58673"/>
                </a:cubicBezTo>
                <a:cubicBezTo>
                  <a:pt x="130683" y="62229"/>
                  <a:pt x="130428" y="65532"/>
                  <a:pt x="129413" y="68326"/>
                </a:cubicBezTo>
                <a:cubicBezTo>
                  <a:pt x="128397" y="70992"/>
                  <a:pt x="126619" y="72771"/>
                  <a:pt x="123952" y="73279"/>
                </a:cubicBezTo>
                <a:cubicBezTo>
                  <a:pt x="122047" y="73660"/>
                  <a:pt x="120269" y="73279"/>
                  <a:pt x="118744" y="72263"/>
                </a:cubicBezTo>
                <a:cubicBezTo>
                  <a:pt x="117221" y="71247"/>
                  <a:pt x="116205" y="69596"/>
                  <a:pt x="115697" y="67310"/>
                </a:cubicBezTo>
                <a:cubicBezTo>
                  <a:pt x="115316" y="65151"/>
                  <a:pt x="115569" y="62357"/>
                  <a:pt x="116839" y="58928"/>
                </a:cubicBezTo>
                <a:cubicBezTo>
                  <a:pt x="117475" y="56769"/>
                  <a:pt x="117728" y="55117"/>
                  <a:pt x="117475" y="54102"/>
                </a:cubicBezTo>
                <a:cubicBezTo>
                  <a:pt x="116586" y="49910"/>
                  <a:pt x="111378" y="46228"/>
                  <a:pt x="101853" y="42798"/>
                </a:cubicBezTo>
                <a:lnTo>
                  <a:pt x="42036" y="95122"/>
                </a:lnTo>
                <a:cubicBezTo>
                  <a:pt x="37846" y="98679"/>
                  <a:pt x="34925" y="101980"/>
                  <a:pt x="33527" y="104775"/>
                </a:cubicBezTo>
                <a:cubicBezTo>
                  <a:pt x="32003" y="107696"/>
                  <a:pt x="31369" y="111125"/>
                  <a:pt x="31496" y="115189"/>
                </a:cubicBezTo>
                <a:lnTo>
                  <a:pt x="28575" y="115823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1" name="Freeform 3"/>
          <p:cNvSpPr/>
          <p:nvPr/>
        </p:nvSpPr>
        <p:spPr>
          <a:xfrm>
            <a:off x="1385538" y="3898082"/>
            <a:ext cx="136537" cy="139532"/>
          </a:xfrm>
          <a:custGeom>
            <a:avLst/>
            <a:gdLst>
              <a:gd name="connsiteX0" fmla="*/ 26416 w 139319"/>
              <a:gd name="connsiteY0" fmla="*/ 136016 h 142366"/>
              <a:gd name="connsiteX1" fmla="*/ 6350 w 139319"/>
              <a:gd name="connsiteY1" fmla="*/ 25653 h 142366"/>
              <a:gd name="connsiteX2" fmla="*/ 9271 w 139319"/>
              <a:gd name="connsiteY2" fmla="*/ 25145 h 142366"/>
              <a:gd name="connsiteX3" fmla="*/ 14732 w 139319"/>
              <a:gd name="connsiteY3" fmla="*/ 37210 h 142366"/>
              <a:gd name="connsiteX4" fmla="*/ 28575 w 139319"/>
              <a:gd name="connsiteY4" fmla="*/ 37464 h 142366"/>
              <a:gd name="connsiteX5" fmla="*/ 96266 w 139319"/>
              <a:gd name="connsiteY5" fmla="*/ 25272 h 142366"/>
              <a:gd name="connsiteX6" fmla="*/ 109093 w 139319"/>
              <a:gd name="connsiteY6" fmla="*/ 20065 h 142366"/>
              <a:gd name="connsiteX7" fmla="*/ 109982 w 139319"/>
              <a:gd name="connsiteY7" fmla="*/ 6857 h 142366"/>
              <a:gd name="connsiteX8" fmla="*/ 112902 w 139319"/>
              <a:gd name="connsiteY8" fmla="*/ 6350 h 142366"/>
              <a:gd name="connsiteX9" fmla="*/ 121158 w 139319"/>
              <a:gd name="connsiteY9" fmla="*/ 52069 h 142366"/>
              <a:gd name="connsiteX10" fmla="*/ 118236 w 139319"/>
              <a:gd name="connsiteY10" fmla="*/ 52577 h 142366"/>
              <a:gd name="connsiteX11" fmla="*/ 112902 w 139319"/>
              <a:gd name="connsiteY11" fmla="*/ 40639 h 142366"/>
              <a:gd name="connsiteX12" fmla="*/ 99060 w 139319"/>
              <a:gd name="connsiteY12" fmla="*/ 40258 h 142366"/>
              <a:gd name="connsiteX13" fmla="*/ 17780 w 139319"/>
              <a:gd name="connsiteY13" fmla="*/ 55117 h 142366"/>
              <a:gd name="connsiteX14" fmla="*/ 26669 w 139319"/>
              <a:gd name="connsiteY14" fmla="*/ 104520 h 142366"/>
              <a:gd name="connsiteX15" fmla="*/ 107950 w 139319"/>
              <a:gd name="connsiteY15" fmla="*/ 89661 h 142366"/>
              <a:gd name="connsiteX16" fmla="*/ 120903 w 139319"/>
              <a:gd name="connsiteY16" fmla="*/ 84581 h 142366"/>
              <a:gd name="connsiteX17" fmla="*/ 121666 w 139319"/>
              <a:gd name="connsiteY17" fmla="*/ 71373 h 142366"/>
              <a:gd name="connsiteX18" fmla="*/ 124586 w 139319"/>
              <a:gd name="connsiteY18" fmla="*/ 70738 h 142366"/>
              <a:gd name="connsiteX19" fmla="*/ 132969 w 139319"/>
              <a:gd name="connsiteY19" fmla="*/ 116712 h 142366"/>
              <a:gd name="connsiteX20" fmla="*/ 130047 w 139319"/>
              <a:gd name="connsiteY20" fmla="*/ 117220 h 142366"/>
              <a:gd name="connsiteX21" fmla="*/ 124586 w 139319"/>
              <a:gd name="connsiteY21" fmla="*/ 105155 h 142366"/>
              <a:gd name="connsiteX22" fmla="*/ 110744 w 139319"/>
              <a:gd name="connsiteY22" fmla="*/ 104775 h 142366"/>
              <a:gd name="connsiteX23" fmla="*/ 43052 w 139319"/>
              <a:gd name="connsiteY23" fmla="*/ 117094 h 142366"/>
              <a:gd name="connsiteX24" fmla="*/ 30225 w 139319"/>
              <a:gd name="connsiteY24" fmla="*/ 122300 h 142366"/>
              <a:gd name="connsiteX25" fmla="*/ 29336 w 139319"/>
              <a:gd name="connsiteY25" fmla="*/ 135508 h 142366"/>
              <a:gd name="connsiteX26" fmla="*/ 26416 w 139319"/>
              <a:gd name="connsiteY26" fmla="*/ 136016 h 1423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</a:cxnLst>
            <a:rect l="l" t="t" r="r" b="b"/>
            <a:pathLst>
              <a:path w="139319" h="142366">
                <a:moveTo>
                  <a:pt x="26416" y="136016"/>
                </a:moveTo>
                <a:lnTo>
                  <a:pt x="6350" y="25653"/>
                </a:lnTo>
                <a:lnTo>
                  <a:pt x="9271" y="25145"/>
                </a:lnTo>
                <a:cubicBezTo>
                  <a:pt x="10668" y="31750"/>
                  <a:pt x="12446" y="35686"/>
                  <a:pt x="14732" y="37210"/>
                </a:cubicBezTo>
                <a:cubicBezTo>
                  <a:pt x="16891" y="38734"/>
                  <a:pt x="21589" y="38861"/>
                  <a:pt x="28575" y="37464"/>
                </a:cubicBezTo>
                <a:lnTo>
                  <a:pt x="96266" y="25272"/>
                </a:lnTo>
                <a:cubicBezTo>
                  <a:pt x="103250" y="24002"/>
                  <a:pt x="107569" y="22225"/>
                  <a:pt x="109093" y="20065"/>
                </a:cubicBezTo>
                <a:cubicBezTo>
                  <a:pt x="110616" y="17906"/>
                  <a:pt x="110997" y="13461"/>
                  <a:pt x="109982" y="6857"/>
                </a:cubicBezTo>
                <a:lnTo>
                  <a:pt x="112902" y="6350"/>
                </a:lnTo>
                <a:lnTo>
                  <a:pt x="121158" y="52069"/>
                </a:lnTo>
                <a:lnTo>
                  <a:pt x="118236" y="52577"/>
                </a:lnTo>
                <a:cubicBezTo>
                  <a:pt x="116839" y="46100"/>
                  <a:pt x="115061" y="42163"/>
                  <a:pt x="112902" y="40639"/>
                </a:cubicBezTo>
                <a:cubicBezTo>
                  <a:pt x="110744" y="39115"/>
                  <a:pt x="106044" y="38988"/>
                  <a:pt x="99060" y="40258"/>
                </a:cubicBezTo>
                <a:lnTo>
                  <a:pt x="17780" y="55117"/>
                </a:lnTo>
                <a:lnTo>
                  <a:pt x="26669" y="104520"/>
                </a:lnTo>
                <a:lnTo>
                  <a:pt x="107950" y="89661"/>
                </a:lnTo>
                <a:cubicBezTo>
                  <a:pt x="115061" y="88391"/>
                  <a:pt x="119252" y="86740"/>
                  <a:pt x="120903" y="84581"/>
                </a:cubicBezTo>
                <a:cubicBezTo>
                  <a:pt x="122427" y="82422"/>
                  <a:pt x="122682" y="77977"/>
                  <a:pt x="121666" y="71373"/>
                </a:cubicBezTo>
                <a:lnTo>
                  <a:pt x="124586" y="70738"/>
                </a:lnTo>
                <a:lnTo>
                  <a:pt x="132969" y="116712"/>
                </a:lnTo>
                <a:lnTo>
                  <a:pt x="130047" y="117220"/>
                </a:lnTo>
                <a:cubicBezTo>
                  <a:pt x="128650" y="110616"/>
                  <a:pt x="126746" y="106552"/>
                  <a:pt x="124586" y="105155"/>
                </a:cubicBezTo>
                <a:cubicBezTo>
                  <a:pt x="122300" y="103631"/>
                  <a:pt x="117728" y="103504"/>
                  <a:pt x="110744" y="104775"/>
                </a:cubicBezTo>
                <a:lnTo>
                  <a:pt x="43052" y="117094"/>
                </a:lnTo>
                <a:cubicBezTo>
                  <a:pt x="36068" y="118363"/>
                  <a:pt x="31750" y="120141"/>
                  <a:pt x="30225" y="122300"/>
                </a:cubicBezTo>
                <a:cubicBezTo>
                  <a:pt x="28575" y="124459"/>
                  <a:pt x="28321" y="128904"/>
                  <a:pt x="29336" y="135508"/>
                </a:cubicBezTo>
                <a:lnTo>
                  <a:pt x="26416" y="136016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2" name="Freeform 3"/>
          <p:cNvSpPr/>
          <p:nvPr/>
        </p:nvSpPr>
        <p:spPr>
          <a:xfrm>
            <a:off x="1384294" y="3843438"/>
            <a:ext cx="59121" cy="48544"/>
          </a:xfrm>
          <a:custGeom>
            <a:avLst/>
            <a:gdLst>
              <a:gd name="connsiteX0" fmla="*/ 6350 w 60325"/>
              <a:gd name="connsiteY0" fmla="*/ 33147 h 49530"/>
              <a:gd name="connsiteX1" fmla="*/ 9525 w 60325"/>
              <a:gd name="connsiteY1" fmla="*/ 43179 h 49530"/>
              <a:gd name="connsiteX2" fmla="*/ 53975 w 60325"/>
              <a:gd name="connsiteY2" fmla="*/ 35814 h 49530"/>
              <a:gd name="connsiteX3" fmla="*/ 53975 w 60325"/>
              <a:gd name="connsiteY3" fmla="*/ 28321 h 49530"/>
              <a:gd name="connsiteX4" fmla="*/ 53466 w 60325"/>
              <a:gd name="connsiteY4" fmla="*/ 22733 h 49530"/>
              <a:gd name="connsiteX5" fmla="*/ 44830 w 60325"/>
              <a:gd name="connsiteY5" fmla="*/ 9652 h 49530"/>
              <a:gd name="connsiteX6" fmla="*/ 27431 w 60325"/>
              <a:gd name="connsiteY6" fmla="*/ 6350 h 49530"/>
              <a:gd name="connsiteX7" fmla="*/ 14986 w 60325"/>
              <a:gd name="connsiteY7" fmla="*/ 11303 h 49530"/>
              <a:gd name="connsiteX8" fmla="*/ 7366 w 60325"/>
              <a:gd name="connsiteY8" fmla="*/ 20828 h 49530"/>
              <a:gd name="connsiteX9" fmla="*/ 6350 w 60325"/>
              <a:gd name="connsiteY9" fmla="*/ 33147 h 4953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</a:cxnLst>
            <a:rect l="l" t="t" r="r" b="b"/>
            <a:pathLst>
              <a:path w="60325" h="49530">
                <a:moveTo>
                  <a:pt x="6350" y="33147"/>
                </a:moveTo>
                <a:cubicBezTo>
                  <a:pt x="6858" y="35814"/>
                  <a:pt x="7873" y="39115"/>
                  <a:pt x="9525" y="43179"/>
                </a:cubicBezTo>
                <a:lnTo>
                  <a:pt x="53975" y="35814"/>
                </a:lnTo>
                <a:cubicBezTo>
                  <a:pt x="54102" y="33020"/>
                  <a:pt x="54102" y="30479"/>
                  <a:pt x="53975" y="28321"/>
                </a:cubicBezTo>
                <a:cubicBezTo>
                  <a:pt x="53847" y="26034"/>
                  <a:pt x="53720" y="24257"/>
                  <a:pt x="53466" y="22733"/>
                </a:cubicBezTo>
                <a:cubicBezTo>
                  <a:pt x="52577" y="17272"/>
                  <a:pt x="49656" y="12827"/>
                  <a:pt x="44830" y="9652"/>
                </a:cubicBezTo>
                <a:cubicBezTo>
                  <a:pt x="39877" y="6350"/>
                  <a:pt x="34036" y="5207"/>
                  <a:pt x="27431" y="6350"/>
                </a:cubicBezTo>
                <a:cubicBezTo>
                  <a:pt x="22733" y="7111"/>
                  <a:pt x="18669" y="8763"/>
                  <a:pt x="14986" y="11303"/>
                </a:cubicBezTo>
                <a:cubicBezTo>
                  <a:pt x="11302" y="13842"/>
                  <a:pt x="8763" y="17017"/>
                  <a:pt x="7366" y="20828"/>
                </a:cubicBezTo>
                <a:cubicBezTo>
                  <a:pt x="5969" y="24638"/>
                  <a:pt x="5714" y="28702"/>
                  <a:pt x="6350" y="33147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3" name="Freeform 3"/>
          <p:cNvSpPr/>
          <p:nvPr/>
        </p:nvSpPr>
        <p:spPr>
          <a:xfrm>
            <a:off x="1377572" y="3826138"/>
            <a:ext cx="124215" cy="96964"/>
          </a:xfrm>
          <a:custGeom>
            <a:avLst/>
            <a:gdLst>
              <a:gd name="connsiteX0" fmla="*/ 13588 w 126746"/>
              <a:gd name="connsiteY0" fmla="*/ 92582 h 98933"/>
              <a:gd name="connsiteX1" fmla="*/ 7111 w 126746"/>
              <a:gd name="connsiteY1" fmla="*/ 53339 h 98933"/>
              <a:gd name="connsiteX2" fmla="*/ 6350 w 126746"/>
              <a:gd name="connsiteY2" fmla="*/ 30352 h 98933"/>
              <a:gd name="connsiteX3" fmla="*/ 13969 w 126746"/>
              <a:gd name="connsiteY3" fmla="*/ 14731 h 98933"/>
              <a:gd name="connsiteX4" fmla="*/ 29717 w 126746"/>
              <a:gd name="connsiteY4" fmla="*/ 6350 h 98933"/>
              <a:gd name="connsiteX5" fmla="*/ 52324 w 126746"/>
              <a:gd name="connsiteY5" fmla="*/ 11429 h 98933"/>
              <a:gd name="connsiteX6" fmla="*/ 64642 w 126746"/>
              <a:gd name="connsiteY6" fmla="*/ 34416 h 98933"/>
              <a:gd name="connsiteX7" fmla="*/ 65405 w 126746"/>
              <a:gd name="connsiteY7" fmla="*/ 42925 h 98933"/>
              <a:gd name="connsiteX8" fmla="*/ 65405 w 126746"/>
              <a:gd name="connsiteY8" fmla="*/ 52831 h 98933"/>
              <a:gd name="connsiteX9" fmla="*/ 96519 w 126746"/>
              <a:gd name="connsiteY9" fmla="*/ 47625 h 98933"/>
              <a:gd name="connsiteX10" fmla="*/ 108585 w 126746"/>
              <a:gd name="connsiteY10" fmla="*/ 43433 h 98933"/>
              <a:gd name="connsiteX11" fmla="*/ 110616 w 126746"/>
              <a:gd name="connsiteY11" fmla="*/ 33781 h 98933"/>
              <a:gd name="connsiteX12" fmla="*/ 109981 w 126746"/>
              <a:gd name="connsiteY12" fmla="*/ 29717 h 98933"/>
              <a:gd name="connsiteX13" fmla="*/ 112775 w 126746"/>
              <a:gd name="connsiteY13" fmla="*/ 29209 h 98933"/>
              <a:gd name="connsiteX14" fmla="*/ 120396 w 126746"/>
              <a:gd name="connsiteY14" fmla="*/ 74929 h 98933"/>
              <a:gd name="connsiteX15" fmla="*/ 117475 w 126746"/>
              <a:gd name="connsiteY15" fmla="*/ 75437 h 98933"/>
              <a:gd name="connsiteX16" fmla="*/ 116839 w 126746"/>
              <a:gd name="connsiteY16" fmla="*/ 71373 h 98933"/>
              <a:gd name="connsiteX17" fmla="*/ 110744 w 126746"/>
              <a:gd name="connsiteY17" fmla="*/ 62483 h 98933"/>
              <a:gd name="connsiteX18" fmla="*/ 98933 w 126746"/>
              <a:gd name="connsiteY18" fmla="*/ 62737 h 98933"/>
              <a:gd name="connsiteX19" fmla="*/ 29972 w 126746"/>
              <a:gd name="connsiteY19" fmla="*/ 74167 h 98933"/>
              <a:gd name="connsiteX20" fmla="*/ 17780 w 126746"/>
              <a:gd name="connsiteY20" fmla="*/ 78358 h 98933"/>
              <a:gd name="connsiteX21" fmla="*/ 15875 w 126746"/>
              <a:gd name="connsiteY21" fmla="*/ 88010 h 98933"/>
              <a:gd name="connsiteX22" fmla="*/ 16510 w 126746"/>
              <a:gd name="connsiteY22" fmla="*/ 92075 h 98933"/>
              <a:gd name="connsiteX23" fmla="*/ 13588 w 126746"/>
              <a:gd name="connsiteY23" fmla="*/ 92582 h 9893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</a:cxnLst>
            <a:rect l="l" t="t" r="r" b="b"/>
            <a:pathLst>
              <a:path w="126746" h="98933">
                <a:moveTo>
                  <a:pt x="13588" y="92582"/>
                </a:moveTo>
                <a:lnTo>
                  <a:pt x="7111" y="53339"/>
                </a:lnTo>
                <a:cubicBezTo>
                  <a:pt x="5588" y="43814"/>
                  <a:pt x="5333" y="36194"/>
                  <a:pt x="6350" y="30352"/>
                </a:cubicBezTo>
                <a:cubicBezTo>
                  <a:pt x="7366" y="24510"/>
                  <a:pt x="9905" y="19303"/>
                  <a:pt x="13969" y="14731"/>
                </a:cubicBezTo>
                <a:cubicBezTo>
                  <a:pt x="18033" y="10159"/>
                  <a:pt x="23241" y="7365"/>
                  <a:pt x="29717" y="6350"/>
                </a:cubicBezTo>
                <a:cubicBezTo>
                  <a:pt x="38353" y="4825"/>
                  <a:pt x="45974" y="6603"/>
                  <a:pt x="52324" y="11429"/>
                </a:cubicBezTo>
                <a:cubicBezTo>
                  <a:pt x="58800" y="16255"/>
                  <a:pt x="62864" y="24002"/>
                  <a:pt x="64642" y="34416"/>
                </a:cubicBezTo>
                <a:cubicBezTo>
                  <a:pt x="65024" y="37083"/>
                  <a:pt x="65277" y="39877"/>
                  <a:pt x="65405" y="42925"/>
                </a:cubicBezTo>
                <a:cubicBezTo>
                  <a:pt x="65531" y="45973"/>
                  <a:pt x="65531" y="49275"/>
                  <a:pt x="65405" y="52831"/>
                </a:cubicBezTo>
                <a:lnTo>
                  <a:pt x="96519" y="47625"/>
                </a:lnTo>
                <a:cubicBezTo>
                  <a:pt x="103124" y="46608"/>
                  <a:pt x="107188" y="45084"/>
                  <a:pt x="108585" y="43433"/>
                </a:cubicBezTo>
                <a:cubicBezTo>
                  <a:pt x="110616" y="41020"/>
                  <a:pt x="111252" y="37845"/>
                  <a:pt x="110616" y="33781"/>
                </a:cubicBezTo>
                <a:lnTo>
                  <a:pt x="109981" y="29717"/>
                </a:lnTo>
                <a:lnTo>
                  <a:pt x="112775" y="29209"/>
                </a:lnTo>
                <a:lnTo>
                  <a:pt x="120396" y="74929"/>
                </a:lnTo>
                <a:lnTo>
                  <a:pt x="117475" y="75437"/>
                </a:lnTo>
                <a:lnTo>
                  <a:pt x="116839" y="71373"/>
                </a:lnTo>
                <a:cubicBezTo>
                  <a:pt x="116077" y="66928"/>
                  <a:pt x="114046" y="63880"/>
                  <a:pt x="110744" y="62483"/>
                </a:cubicBezTo>
                <a:cubicBezTo>
                  <a:pt x="108966" y="61721"/>
                  <a:pt x="105028" y="61721"/>
                  <a:pt x="98933" y="62737"/>
                </a:cubicBezTo>
                <a:lnTo>
                  <a:pt x="29972" y="74167"/>
                </a:lnTo>
                <a:cubicBezTo>
                  <a:pt x="23241" y="75310"/>
                  <a:pt x="19177" y="76707"/>
                  <a:pt x="17780" y="78358"/>
                </a:cubicBezTo>
                <a:cubicBezTo>
                  <a:pt x="15747" y="80771"/>
                  <a:pt x="15113" y="83946"/>
                  <a:pt x="15875" y="88010"/>
                </a:cubicBezTo>
                <a:lnTo>
                  <a:pt x="16510" y="92075"/>
                </a:lnTo>
                <a:lnTo>
                  <a:pt x="13588" y="92582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4" name="Freeform 3"/>
          <p:cNvSpPr/>
          <p:nvPr/>
        </p:nvSpPr>
        <p:spPr>
          <a:xfrm>
            <a:off x="1387405" y="3764772"/>
            <a:ext cx="57626" cy="48544"/>
          </a:xfrm>
          <a:custGeom>
            <a:avLst/>
            <a:gdLst>
              <a:gd name="connsiteX0" fmla="*/ 6350 w 58800"/>
              <a:gd name="connsiteY0" fmla="*/ 30861 h 49530"/>
              <a:gd name="connsiteX1" fmla="*/ 52450 w 58800"/>
              <a:gd name="connsiteY1" fmla="*/ 43179 h 49530"/>
              <a:gd name="connsiteX2" fmla="*/ 46989 w 58800"/>
              <a:gd name="connsiteY2" fmla="*/ 6350 h 49530"/>
              <a:gd name="connsiteX3" fmla="*/ 6350 w 58800"/>
              <a:gd name="connsiteY3" fmla="*/ 30861 h 4953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</a:cxnLst>
            <a:rect l="l" t="t" r="r" b="b"/>
            <a:pathLst>
              <a:path w="58800" h="49530">
                <a:moveTo>
                  <a:pt x="6350" y="30861"/>
                </a:moveTo>
                <a:lnTo>
                  <a:pt x="52450" y="43179"/>
                </a:lnTo>
                <a:lnTo>
                  <a:pt x="46989" y="6350"/>
                </a:lnTo>
                <a:lnTo>
                  <a:pt x="6350" y="30861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5" name="Freeform 3"/>
          <p:cNvSpPr/>
          <p:nvPr/>
        </p:nvSpPr>
        <p:spPr>
          <a:xfrm>
            <a:off x="1362512" y="3716353"/>
            <a:ext cx="128323" cy="124346"/>
          </a:xfrm>
          <a:custGeom>
            <a:avLst/>
            <a:gdLst>
              <a:gd name="connsiteX0" fmla="*/ 6858 w 130937"/>
              <a:gd name="connsiteY0" fmla="*/ 81026 h 126872"/>
              <a:gd name="connsiteX1" fmla="*/ 6350 w 130937"/>
              <a:gd name="connsiteY1" fmla="*/ 78232 h 126872"/>
              <a:gd name="connsiteX2" fmla="*/ 89916 w 130937"/>
              <a:gd name="connsiteY2" fmla="*/ 27813 h 126872"/>
              <a:gd name="connsiteX3" fmla="*/ 102742 w 130937"/>
              <a:gd name="connsiteY3" fmla="*/ 17526 h 126872"/>
              <a:gd name="connsiteX4" fmla="*/ 104775 w 130937"/>
              <a:gd name="connsiteY4" fmla="*/ 6730 h 126872"/>
              <a:gd name="connsiteX5" fmla="*/ 107695 w 130937"/>
              <a:gd name="connsiteY5" fmla="*/ 6350 h 126872"/>
              <a:gd name="connsiteX6" fmla="*/ 113919 w 130937"/>
              <a:gd name="connsiteY6" fmla="*/ 48640 h 126872"/>
              <a:gd name="connsiteX7" fmla="*/ 110997 w 130937"/>
              <a:gd name="connsiteY7" fmla="*/ 49021 h 126872"/>
              <a:gd name="connsiteX8" fmla="*/ 107569 w 130937"/>
              <a:gd name="connsiteY8" fmla="*/ 40766 h 126872"/>
              <a:gd name="connsiteX9" fmla="*/ 102869 w 130937"/>
              <a:gd name="connsiteY9" fmla="*/ 39115 h 126872"/>
              <a:gd name="connsiteX10" fmla="*/ 92328 w 130937"/>
              <a:gd name="connsiteY10" fmla="*/ 43941 h 126872"/>
              <a:gd name="connsiteX11" fmla="*/ 77850 w 130937"/>
              <a:gd name="connsiteY11" fmla="*/ 52704 h 126872"/>
              <a:gd name="connsiteX12" fmla="*/ 84073 w 130937"/>
              <a:gd name="connsiteY12" fmla="*/ 94107 h 126872"/>
              <a:gd name="connsiteX13" fmla="*/ 101980 w 130937"/>
              <a:gd name="connsiteY13" fmla="*/ 98805 h 126872"/>
              <a:gd name="connsiteX14" fmla="*/ 111759 w 130937"/>
              <a:gd name="connsiteY14" fmla="*/ 100202 h 126872"/>
              <a:gd name="connsiteX15" fmla="*/ 115697 w 130937"/>
              <a:gd name="connsiteY15" fmla="*/ 97154 h 126872"/>
              <a:gd name="connsiteX16" fmla="*/ 116586 w 130937"/>
              <a:gd name="connsiteY16" fmla="*/ 86740 h 126872"/>
              <a:gd name="connsiteX17" fmla="*/ 119506 w 130937"/>
              <a:gd name="connsiteY17" fmla="*/ 86359 h 126872"/>
              <a:gd name="connsiteX18" fmla="*/ 124586 w 130937"/>
              <a:gd name="connsiteY18" fmla="*/ 120014 h 126872"/>
              <a:gd name="connsiteX19" fmla="*/ 121666 w 130937"/>
              <a:gd name="connsiteY19" fmla="*/ 120522 h 126872"/>
              <a:gd name="connsiteX20" fmla="*/ 117220 w 130937"/>
              <a:gd name="connsiteY20" fmla="*/ 112267 h 126872"/>
              <a:gd name="connsiteX21" fmla="*/ 100583 w 130937"/>
              <a:gd name="connsiteY21" fmla="*/ 105664 h 126872"/>
              <a:gd name="connsiteX22" fmla="*/ 6858 w 130937"/>
              <a:gd name="connsiteY22" fmla="*/ 81026 h 126872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</a:cxnLst>
            <a:rect l="l" t="t" r="r" b="b"/>
            <a:pathLst>
              <a:path w="130937" h="126872">
                <a:moveTo>
                  <a:pt x="6858" y="81026"/>
                </a:moveTo>
                <a:lnTo>
                  <a:pt x="6350" y="78232"/>
                </a:lnTo>
                <a:lnTo>
                  <a:pt x="89916" y="27813"/>
                </a:lnTo>
                <a:cubicBezTo>
                  <a:pt x="96647" y="23748"/>
                  <a:pt x="100964" y="20320"/>
                  <a:pt x="102742" y="17526"/>
                </a:cubicBezTo>
                <a:cubicBezTo>
                  <a:pt x="104520" y="14732"/>
                  <a:pt x="105155" y="11176"/>
                  <a:pt x="104775" y="6730"/>
                </a:cubicBezTo>
                <a:lnTo>
                  <a:pt x="107695" y="6350"/>
                </a:lnTo>
                <a:lnTo>
                  <a:pt x="113919" y="48640"/>
                </a:lnTo>
                <a:lnTo>
                  <a:pt x="110997" y="49021"/>
                </a:lnTo>
                <a:cubicBezTo>
                  <a:pt x="110236" y="44830"/>
                  <a:pt x="109092" y="42036"/>
                  <a:pt x="107569" y="40766"/>
                </a:cubicBezTo>
                <a:cubicBezTo>
                  <a:pt x="106172" y="39370"/>
                  <a:pt x="104647" y="38861"/>
                  <a:pt x="102869" y="39115"/>
                </a:cubicBezTo>
                <a:cubicBezTo>
                  <a:pt x="100583" y="39496"/>
                  <a:pt x="97027" y="41020"/>
                  <a:pt x="92328" y="43941"/>
                </a:cubicBezTo>
                <a:lnTo>
                  <a:pt x="77850" y="52704"/>
                </a:lnTo>
                <a:lnTo>
                  <a:pt x="84073" y="94107"/>
                </a:lnTo>
                <a:lnTo>
                  <a:pt x="101980" y="98805"/>
                </a:lnTo>
                <a:cubicBezTo>
                  <a:pt x="106425" y="100076"/>
                  <a:pt x="109727" y="100457"/>
                  <a:pt x="111759" y="100202"/>
                </a:cubicBezTo>
                <a:cubicBezTo>
                  <a:pt x="113411" y="99948"/>
                  <a:pt x="114680" y="98932"/>
                  <a:pt x="115697" y="97154"/>
                </a:cubicBezTo>
                <a:cubicBezTo>
                  <a:pt x="116713" y="95503"/>
                  <a:pt x="116966" y="91947"/>
                  <a:pt x="116586" y="86740"/>
                </a:cubicBezTo>
                <a:lnTo>
                  <a:pt x="119506" y="86359"/>
                </a:lnTo>
                <a:lnTo>
                  <a:pt x="124586" y="120014"/>
                </a:lnTo>
                <a:lnTo>
                  <a:pt x="121666" y="120522"/>
                </a:lnTo>
                <a:cubicBezTo>
                  <a:pt x="120141" y="116077"/>
                  <a:pt x="118744" y="113410"/>
                  <a:pt x="117220" y="112267"/>
                </a:cubicBezTo>
                <a:cubicBezTo>
                  <a:pt x="114300" y="109982"/>
                  <a:pt x="108711" y="107695"/>
                  <a:pt x="100583" y="105664"/>
                </a:cubicBezTo>
                <a:lnTo>
                  <a:pt x="6858" y="81026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6" name="Freeform 3"/>
          <p:cNvSpPr/>
          <p:nvPr/>
        </p:nvSpPr>
        <p:spPr>
          <a:xfrm>
            <a:off x="1404332" y="3639679"/>
            <a:ext cx="58000" cy="61987"/>
          </a:xfrm>
          <a:custGeom>
            <a:avLst/>
            <a:gdLst>
              <a:gd name="connsiteX0" fmla="*/ 6350 w 59182"/>
              <a:gd name="connsiteY0" fmla="*/ 43052 h 63246"/>
              <a:gd name="connsiteX1" fmla="*/ 7619 w 59182"/>
              <a:gd name="connsiteY1" fmla="*/ 51434 h 63246"/>
              <a:gd name="connsiteX2" fmla="*/ 8889 w 59182"/>
              <a:gd name="connsiteY2" fmla="*/ 56896 h 63246"/>
              <a:gd name="connsiteX3" fmla="*/ 52831 w 59182"/>
              <a:gd name="connsiteY3" fmla="*/ 51308 h 63246"/>
              <a:gd name="connsiteX4" fmla="*/ 52705 w 59182"/>
              <a:gd name="connsiteY4" fmla="*/ 32892 h 63246"/>
              <a:gd name="connsiteX5" fmla="*/ 43433 w 59182"/>
              <a:gd name="connsiteY5" fmla="*/ 11810 h 63246"/>
              <a:gd name="connsiteX6" fmla="*/ 26542 w 59182"/>
              <a:gd name="connsiteY6" fmla="*/ 6350 h 63246"/>
              <a:gd name="connsiteX7" fmla="*/ 14858 w 59182"/>
              <a:gd name="connsiteY7" fmla="*/ 11302 h 63246"/>
              <a:gd name="connsiteX8" fmla="*/ 7238 w 59182"/>
              <a:gd name="connsiteY8" fmla="*/ 23621 h 63246"/>
              <a:gd name="connsiteX9" fmla="*/ 6350 w 59182"/>
              <a:gd name="connsiteY9" fmla="*/ 43052 h 6324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</a:cxnLst>
            <a:rect l="l" t="t" r="r" b="b"/>
            <a:pathLst>
              <a:path w="59182" h="63246">
                <a:moveTo>
                  <a:pt x="6350" y="43052"/>
                </a:moveTo>
                <a:cubicBezTo>
                  <a:pt x="6730" y="46354"/>
                  <a:pt x="7111" y="49021"/>
                  <a:pt x="7619" y="51434"/>
                </a:cubicBezTo>
                <a:cubicBezTo>
                  <a:pt x="8000" y="53721"/>
                  <a:pt x="8381" y="55498"/>
                  <a:pt x="8889" y="56896"/>
                </a:cubicBezTo>
                <a:lnTo>
                  <a:pt x="52831" y="51308"/>
                </a:lnTo>
                <a:cubicBezTo>
                  <a:pt x="53466" y="44958"/>
                  <a:pt x="53466" y="38861"/>
                  <a:pt x="52705" y="32892"/>
                </a:cubicBezTo>
                <a:cubicBezTo>
                  <a:pt x="51434" y="23367"/>
                  <a:pt x="48386" y="16255"/>
                  <a:pt x="43433" y="11810"/>
                </a:cubicBezTo>
                <a:cubicBezTo>
                  <a:pt x="38480" y="7365"/>
                  <a:pt x="32766" y="5588"/>
                  <a:pt x="26542" y="6350"/>
                </a:cubicBezTo>
                <a:cubicBezTo>
                  <a:pt x="22351" y="6858"/>
                  <a:pt x="18414" y="8508"/>
                  <a:pt x="14858" y="11302"/>
                </a:cubicBezTo>
                <a:cubicBezTo>
                  <a:pt x="11302" y="14096"/>
                  <a:pt x="8762" y="18160"/>
                  <a:pt x="7238" y="23621"/>
                </a:cubicBezTo>
                <a:cubicBezTo>
                  <a:pt x="5714" y="28955"/>
                  <a:pt x="5333" y="35433"/>
                  <a:pt x="6350" y="43052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7" name="Freeform 3"/>
          <p:cNvSpPr/>
          <p:nvPr/>
        </p:nvSpPr>
        <p:spPr>
          <a:xfrm>
            <a:off x="1355666" y="3649263"/>
            <a:ext cx="56381" cy="58626"/>
          </a:xfrm>
          <a:custGeom>
            <a:avLst/>
            <a:gdLst>
              <a:gd name="connsiteX0" fmla="*/ 6350 w 57530"/>
              <a:gd name="connsiteY0" fmla="*/ 39370 h 59817"/>
              <a:gd name="connsiteX1" fmla="*/ 10033 w 57530"/>
              <a:gd name="connsiteY1" fmla="*/ 53467 h 59817"/>
              <a:gd name="connsiteX2" fmla="*/ 51180 w 57530"/>
              <a:gd name="connsiteY2" fmla="*/ 48133 h 59817"/>
              <a:gd name="connsiteX3" fmla="*/ 51180 w 57530"/>
              <a:gd name="connsiteY3" fmla="*/ 41275 h 59817"/>
              <a:gd name="connsiteX4" fmla="*/ 50419 w 57530"/>
              <a:gd name="connsiteY4" fmla="*/ 33020 h 59817"/>
              <a:gd name="connsiteX5" fmla="*/ 45719 w 57530"/>
              <a:gd name="connsiteY5" fmla="*/ 15875 h 59817"/>
              <a:gd name="connsiteX6" fmla="*/ 36830 w 57530"/>
              <a:gd name="connsiteY6" fmla="*/ 8001 h 59817"/>
              <a:gd name="connsiteX7" fmla="*/ 25273 w 57530"/>
              <a:gd name="connsiteY7" fmla="*/ 6350 h 59817"/>
              <a:gd name="connsiteX8" fmla="*/ 10160 w 57530"/>
              <a:gd name="connsiteY8" fmla="*/ 16129 h 59817"/>
              <a:gd name="connsiteX9" fmla="*/ 6350 w 57530"/>
              <a:gd name="connsiteY9" fmla="*/ 39370 h 5981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</a:cxnLst>
            <a:rect l="l" t="t" r="r" b="b"/>
            <a:pathLst>
              <a:path w="57530" h="59817">
                <a:moveTo>
                  <a:pt x="6350" y="39370"/>
                </a:moveTo>
                <a:cubicBezTo>
                  <a:pt x="7112" y="44704"/>
                  <a:pt x="8255" y="49403"/>
                  <a:pt x="10033" y="53467"/>
                </a:cubicBezTo>
                <a:lnTo>
                  <a:pt x="51180" y="48133"/>
                </a:lnTo>
                <a:cubicBezTo>
                  <a:pt x="51308" y="46101"/>
                  <a:pt x="51308" y="43815"/>
                  <a:pt x="51180" y="41275"/>
                </a:cubicBezTo>
                <a:cubicBezTo>
                  <a:pt x="51054" y="38735"/>
                  <a:pt x="50800" y="35941"/>
                  <a:pt x="50419" y="33020"/>
                </a:cubicBezTo>
                <a:cubicBezTo>
                  <a:pt x="49402" y="25273"/>
                  <a:pt x="47879" y="19558"/>
                  <a:pt x="45719" y="15875"/>
                </a:cubicBezTo>
                <a:cubicBezTo>
                  <a:pt x="43561" y="12319"/>
                  <a:pt x="40640" y="9652"/>
                  <a:pt x="36830" y="8001"/>
                </a:cubicBezTo>
                <a:cubicBezTo>
                  <a:pt x="33147" y="6350"/>
                  <a:pt x="29337" y="5842"/>
                  <a:pt x="25273" y="6350"/>
                </a:cubicBezTo>
                <a:cubicBezTo>
                  <a:pt x="18923" y="7239"/>
                  <a:pt x="13969" y="10414"/>
                  <a:pt x="10160" y="16129"/>
                </a:cubicBezTo>
                <a:cubicBezTo>
                  <a:pt x="6350" y="21844"/>
                  <a:pt x="5080" y="29591"/>
                  <a:pt x="6350" y="39370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8" name="Freeform 3"/>
          <p:cNvSpPr/>
          <p:nvPr/>
        </p:nvSpPr>
        <p:spPr>
          <a:xfrm>
            <a:off x="1349568" y="3621880"/>
            <a:ext cx="124340" cy="117002"/>
          </a:xfrm>
          <a:custGeom>
            <a:avLst/>
            <a:gdLst>
              <a:gd name="connsiteX0" fmla="*/ 13080 w 126873"/>
              <a:gd name="connsiteY0" fmla="*/ 113029 h 119379"/>
              <a:gd name="connsiteX1" fmla="*/ 7111 w 126873"/>
              <a:gd name="connsiteY1" fmla="*/ 66547 h 119379"/>
              <a:gd name="connsiteX2" fmla="*/ 6350 w 126873"/>
              <a:gd name="connsiteY2" fmla="*/ 45465 h 119379"/>
              <a:gd name="connsiteX3" fmla="*/ 14097 w 126873"/>
              <a:gd name="connsiteY3" fmla="*/ 26034 h 119379"/>
              <a:gd name="connsiteX4" fmla="*/ 29972 w 126873"/>
              <a:gd name="connsiteY4" fmla="*/ 17652 h 119379"/>
              <a:gd name="connsiteX5" fmla="*/ 45085 w 126873"/>
              <a:gd name="connsiteY5" fmla="*/ 20700 h 119379"/>
              <a:gd name="connsiteX6" fmla="*/ 56388 w 126873"/>
              <a:gd name="connsiteY6" fmla="*/ 34035 h 119379"/>
              <a:gd name="connsiteX7" fmla="*/ 61849 w 126873"/>
              <a:gd name="connsiteY7" fmla="*/ 16255 h 119379"/>
              <a:gd name="connsiteX8" fmla="*/ 78613 w 126873"/>
              <a:gd name="connsiteY8" fmla="*/ 6350 h 119379"/>
              <a:gd name="connsiteX9" fmla="*/ 94614 w 126873"/>
              <a:gd name="connsiteY9" fmla="*/ 9397 h 119379"/>
              <a:gd name="connsiteX10" fmla="*/ 107061 w 126873"/>
              <a:gd name="connsiteY10" fmla="*/ 21970 h 119379"/>
              <a:gd name="connsiteX11" fmla="*/ 113919 w 126873"/>
              <a:gd name="connsiteY11" fmla="*/ 48513 h 119379"/>
              <a:gd name="connsiteX12" fmla="*/ 120522 w 126873"/>
              <a:gd name="connsiteY12" fmla="*/ 99186 h 119379"/>
              <a:gd name="connsiteX13" fmla="*/ 117602 w 126873"/>
              <a:gd name="connsiteY13" fmla="*/ 99567 h 119379"/>
              <a:gd name="connsiteX14" fmla="*/ 116966 w 126873"/>
              <a:gd name="connsiteY14" fmla="*/ 95503 h 119379"/>
              <a:gd name="connsiteX15" fmla="*/ 111505 w 126873"/>
              <a:gd name="connsiteY15" fmla="*/ 86359 h 119379"/>
              <a:gd name="connsiteX16" fmla="*/ 99441 w 126873"/>
              <a:gd name="connsiteY16" fmla="*/ 86105 h 119379"/>
              <a:gd name="connsiteX17" fmla="*/ 30099 w 126873"/>
              <a:gd name="connsiteY17" fmla="*/ 94995 h 119379"/>
              <a:gd name="connsiteX18" fmla="*/ 17780 w 126873"/>
              <a:gd name="connsiteY18" fmla="*/ 98932 h 119379"/>
              <a:gd name="connsiteX19" fmla="*/ 15494 w 126873"/>
              <a:gd name="connsiteY19" fmla="*/ 108584 h 119379"/>
              <a:gd name="connsiteX20" fmla="*/ 16002 w 126873"/>
              <a:gd name="connsiteY20" fmla="*/ 112648 h 119379"/>
              <a:gd name="connsiteX21" fmla="*/ 13080 w 126873"/>
              <a:gd name="connsiteY21" fmla="*/ 113029 h 11937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</a:cxnLst>
            <a:rect l="l" t="t" r="r" b="b"/>
            <a:pathLst>
              <a:path w="126873" h="119379">
                <a:moveTo>
                  <a:pt x="13080" y="113029"/>
                </a:moveTo>
                <a:lnTo>
                  <a:pt x="7111" y="66547"/>
                </a:lnTo>
                <a:cubicBezTo>
                  <a:pt x="5969" y="57911"/>
                  <a:pt x="5714" y="50926"/>
                  <a:pt x="6350" y="45465"/>
                </a:cubicBezTo>
                <a:cubicBezTo>
                  <a:pt x="7238" y="37338"/>
                  <a:pt x="9778" y="30860"/>
                  <a:pt x="14097" y="26034"/>
                </a:cubicBezTo>
                <a:cubicBezTo>
                  <a:pt x="18414" y="21335"/>
                  <a:pt x="23749" y="18541"/>
                  <a:pt x="29972" y="17652"/>
                </a:cubicBezTo>
                <a:cubicBezTo>
                  <a:pt x="35305" y="17017"/>
                  <a:pt x="40386" y="18033"/>
                  <a:pt x="45085" y="20700"/>
                </a:cubicBezTo>
                <a:cubicBezTo>
                  <a:pt x="49783" y="23494"/>
                  <a:pt x="53466" y="27939"/>
                  <a:pt x="56388" y="34035"/>
                </a:cubicBezTo>
                <a:cubicBezTo>
                  <a:pt x="57022" y="26415"/>
                  <a:pt x="58800" y="20446"/>
                  <a:pt x="61849" y="16255"/>
                </a:cubicBezTo>
                <a:cubicBezTo>
                  <a:pt x="66039" y="10540"/>
                  <a:pt x="71627" y="7238"/>
                  <a:pt x="78613" y="6350"/>
                </a:cubicBezTo>
                <a:cubicBezTo>
                  <a:pt x="83947" y="5714"/>
                  <a:pt x="89280" y="6730"/>
                  <a:pt x="94614" y="9397"/>
                </a:cubicBezTo>
                <a:cubicBezTo>
                  <a:pt x="99949" y="12191"/>
                  <a:pt x="104139" y="16382"/>
                  <a:pt x="107061" y="21970"/>
                </a:cubicBezTo>
                <a:cubicBezTo>
                  <a:pt x="110108" y="27558"/>
                  <a:pt x="112394" y="36448"/>
                  <a:pt x="113919" y="48513"/>
                </a:cubicBezTo>
                <a:lnTo>
                  <a:pt x="120522" y="99186"/>
                </a:lnTo>
                <a:lnTo>
                  <a:pt x="117602" y="99567"/>
                </a:lnTo>
                <a:lnTo>
                  <a:pt x="116966" y="95503"/>
                </a:lnTo>
                <a:cubicBezTo>
                  <a:pt x="116458" y="91058"/>
                  <a:pt x="114553" y="88010"/>
                  <a:pt x="111505" y="86359"/>
                </a:cubicBezTo>
                <a:cubicBezTo>
                  <a:pt x="109474" y="85344"/>
                  <a:pt x="105536" y="85344"/>
                  <a:pt x="99441" y="86105"/>
                </a:cubicBezTo>
                <a:lnTo>
                  <a:pt x="30099" y="94995"/>
                </a:lnTo>
                <a:cubicBezTo>
                  <a:pt x="23494" y="95884"/>
                  <a:pt x="19430" y="97154"/>
                  <a:pt x="17780" y="98932"/>
                </a:cubicBezTo>
                <a:cubicBezTo>
                  <a:pt x="15747" y="101345"/>
                  <a:pt x="14986" y="104520"/>
                  <a:pt x="15494" y="108584"/>
                </a:cubicBezTo>
                <a:lnTo>
                  <a:pt x="16002" y="112648"/>
                </a:lnTo>
                <a:lnTo>
                  <a:pt x="13080" y="113029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9" name="Freeform 3"/>
          <p:cNvSpPr/>
          <p:nvPr/>
        </p:nvSpPr>
        <p:spPr>
          <a:xfrm>
            <a:off x="1331894" y="3511349"/>
            <a:ext cx="129193" cy="117002"/>
          </a:xfrm>
          <a:custGeom>
            <a:avLst/>
            <a:gdLst>
              <a:gd name="connsiteX0" fmla="*/ 15875 w 131825"/>
              <a:gd name="connsiteY0" fmla="*/ 104775 h 119379"/>
              <a:gd name="connsiteX1" fmla="*/ 6350 w 131825"/>
              <a:gd name="connsiteY1" fmla="*/ 18288 h 119379"/>
              <a:gd name="connsiteX2" fmla="*/ 9270 w 131825"/>
              <a:gd name="connsiteY2" fmla="*/ 17907 h 119379"/>
              <a:gd name="connsiteX3" fmla="*/ 13842 w 131825"/>
              <a:gd name="connsiteY3" fmla="*/ 30352 h 119379"/>
              <a:gd name="connsiteX4" fmla="*/ 27686 w 131825"/>
              <a:gd name="connsiteY4" fmla="*/ 31622 h 119379"/>
              <a:gd name="connsiteX5" fmla="*/ 96011 w 131825"/>
              <a:gd name="connsiteY5" fmla="*/ 24129 h 119379"/>
              <a:gd name="connsiteX6" fmla="*/ 109219 w 131825"/>
              <a:gd name="connsiteY6" fmla="*/ 19811 h 119379"/>
              <a:gd name="connsiteX7" fmla="*/ 110997 w 131825"/>
              <a:gd name="connsiteY7" fmla="*/ 6730 h 119379"/>
              <a:gd name="connsiteX8" fmla="*/ 113919 w 131825"/>
              <a:gd name="connsiteY8" fmla="*/ 6350 h 119379"/>
              <a:gd name="connsiteX9" fmla="*/ 118998 w 131825"/>
              <a:gd name="connsiteY9" fmla="*/ 52577 h 119379"/>
              <a:gd name="connsiteX10" fmla="*/ 116077 w 131825"/>
              <a:gd name="connsiteY10" fmla="*/ 52958 h 119379"/>
              <a:gd name="connsiteX11" fmla="*/ 111505 w 131825"/>
              <a:gd name="connsiteY11" fmla="*/ 40513 h 119379"/>
              <a:gd name="connsiteX12" fmla="*/ 97789 w 131825"/>
              <a:gd name="connsiteY12" fmla="*/ 39242 h 119379"/>
              <a:gd name="connsiteX13" fmla="*/ 15620 w 131825"/>
              <a:gd name="connsiteY13" fmla="*/ 48259 h 119379"/>
              <a:gd name="connsiteX14" fmla="*/ 19303 w 131825"/>
              <a:gd name="connsiteY14" fmla="*/ 81660 h 119379"/>
              <a:gd name="connsiteX15" fmla="*/ 49402 w 131825"/>
              <a:gd name="connsiteY15" fmla="*/ 78358 h 119379"/>
              <a:gd name="connsiteX16" fmla="*/ 109473 w 131825"/>
              <a:gd name="connsiteY16" fmla="*/ 79628 h 119379"/>
              <a:gd name="connsiteX17" fmla="*/ 125475 w 131825"/>
              <a:gd name="connsiteY17" fmla="*/ 99821 h 119379"/>
              <a:gd name="connsiteX18" fmla="*/ 123697 w 131825"/>
              <a:gd name="connsiteY18" fmla="*/ 109092 h 119379"/>
              <a:gd name="connsiteX19" fmla="*/ 117220 w 131825"/>
              <a:gd name="connsiteY19" fmla="*/ 113029 h 119379"/>
              <a:gd name="connsiteX20" fmla="*/ 112013 w 131825"/>
              <a:gd name="connsiteY20" fmla="*/ 111505 h 119379"/>
              <a:gd name="connsiteX21" fmla="*/ 109219 w 131825"/>
              <a:gd name="connsiteY21" fmla="*/ 106807 h 119379"/>
              <a:gd name="connsiteX22" fmla="*/ 110997 w 131825"/>
              <a:gd name="connsiteY22" fmla="*/ 100838 h 119379"/>
              <a:gd name="connsiteX23" fmla="*/ 112902 w 131825"/>
              <a:gd name="connsiteY23" fmla="*/ 94233 h 119379"/>
              <a:gd name="connsiteX24" fmla="*/ 100202 w 131825"/>
              <a:gd name="connsiteY24" fmla="*/ 84201 h 119379"/>
              <a:gd name="connsiteX25" fmla="*/ 56261 w 131825"/>
              <a:gd name="connsiteY25" fmla="*/ 84582 h 119379"/>
              <a:gd name="connsiteX26" fmla="*/ 33781 w 131825"/>
              <a:gd name="connsiteY26" fmla="*/ 87121 h 119379"/>
              <a:gd name="connsiteX27" fmla="*/ 20573 w 131825"/>
              <a:gd name="connsiteY27" fmla="*/ 91313 h 119379"/>
              <a:gd name="connsiteX28" fmla="*/ 18795 w 131825"/>
              <a:gd name="connsiteY28" fmla="*/ 104520 h 119379"/>
              <a:gd name="connsiteX29" fmla="*/ 15875 w 131825"/>
              <a:gd name="connsiteY29" fmla="*/ 104775 h 11937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</a:cxnLst>
            <a:rect l="l" t="t" r="r" b="b"/>
            <a:pathLst>
              <a:path w="131825" h="119379">
                <a:moveTo>
                  <a:pt x="15875" y="104775"/>
                </a:moveTo>
                <a:lnTo>
                  <a:pt x="6350" y="18288"/>
                </a:lnTo>
                <a:lnTo>
                  <a:pt x="9270" y="17907"/>
                </a:lnTo>
                <a:cubicBezTo>
                  <a:pt x="10286" y="24510"/>
                  <a:pt x="11811" y="28701"/>
                  <a:pt x="13842" y="30352"/>
                </a:cubicBezTo>
                <a:cubicBezTo>
                  <a:pt x="16001" y="32003"/>
                  <a:pt x="20573" y="32384"/>
                  <a:pt x="27686" y="31622"/>
                </a:cubicBezTo>
                <a:lnTo>
                  <a:pt x="96011" y="24129"/>
                </a:lnTo>
                <a:cubicBezTo>
                  <a:pt x="103123" y="23240"/>
                  <a:pt x="107569" y="21844"/>
                  <a:pt x="109219" y="19811"/>
                </a:cubicBezTo>
                <a:cubicBezTo>
                  <a:pt x="110997" y="17779"/>
                  <a:pt x="111505" y="13334"/>
                  <a:pt x="110997" y="6730"/>
                </a:cubicBezTo>
                <a:lnTo>
                  <a:pt x="113919" y="6350"/>
                </a:lnTo>
                <a:lnTo>
                  <a:pt x="118998" y="52577"/>
                </a:lnTo>
                <a:lnTo>
                  <a:pt x="116077" y="52958"/>
                </a:lnTo>
                <a:cubicBezTo>
                  <a:pt x="115188" y="46354"/>
                  <a:pt x="113664" y="42164"/>
                  <a:pt x="111505" y="40513"/>
                </a:cubicBezTo>
                <a:cubicBezTo>
                  <a:pt x="109473" y="38861"/>
                  <a:pt x="104775" y="38480"/>
                  <a:pt x="97789" y="39242"/>
                </a:cubicBezTo>
                <a:lnTo>
                  <a:pt x="15620" y="48259"/>
                </a:lnTo>
                <a:lnTo>
                  <a:pt x="19303" y="81660"/>
                </a:lnTo>
                <a:lnTo>
                  <a:pt x="49402" y="78358"/>
                </a:lnTo>
                <a:cubicBezTo>
                  <a:pt x="79883" y="74929"/>
                  <a:pt x="99948" y="75438"/>
                  <a:pt x="109473" y="79628"/>
                </a:cubicBezTo>
                <a:cubicBezTo>
                  <a:pt x="119125" y="83820"/>
                  <a:pt x="124459" y="90551"/>
                  <a:pt x="125475" y="99821"/>
                </a:cubicBezTo>
                <a:cubicBezTo>
                  <a:pt x="125983" y="103632"/>
                  <a:pt x="125348" y="106807"/>
                  <a:pt x="123697" y="109092"/>
                </a:cubicBezTo>
                <a:cubicBezTo>
                  <a:pt x="121919" y="111505"/>
                  <a:pt x="119761" y="112776"/>
                  <a:pt x="117220" y="113029"/>
                </a:cubicBezTo>
                <a:cubicBezTo>
                  <a:pt x="115315" y="113283"/>
                  <a:pt x="113537" y="112776"/>
                  <a:pt x="112013" y="111505"/>
                </a:cubicBezTo>
                <a:cubicBezTo>
                  <a:pt x="110362" y="110363"/>
                  <a:pt x="109473" y="108711"/>
                  <a:pt x="109219" y="106807"/>
                </a:cubicBezTo>
                <a:cubicBezTo>
                  <a:pt x="109092" y="105155"/>
                  <a:pt x="109727" y="103123"/>
                  <a:pt x="110997" y="100838"/>
                </a:cubicBezTo>
                <a:cubicBezTo>
                  <a:pt x="112522" y="98297"/>
                  <a:pt x="113156" y="96139"/>
                  <a:pt x="112902" y="94233"/>
                </a:cubicBezTo>
                <a:cubicBezTo>
                  <a:pt x="112394" y="89534"/>
                  <a:pt x="108203" y="86233"/>
                  <a:pt x="100202" y="84201"/>
                </a:cubicBezTo>
                <a:cubicBezTo>
                  <a:pt x="92328" y="82169"/>
                  <a:pt x="77597" y="82295"/>
                  <a:pt x="56261" y="84582"/>
                </a:cubicBezTo>
                <a:lnTo>
                  <a:pt x="33781" y="87121"/>
                </a:lnTo>
                <a:cubicBezTo>
                  <a:pt x="26669" y="87883"/>
                  <a:pt x="22351" y="89280"/>
                  <a:pt x="20573" y="91313"/>
                </a:cubicBezTo>
                <a:cubicBezTo>
                  <a:pt x="18922" y="93471"/>
                  <a:pt x="18287" y="97789"/>
                  <a:pt x="18795" y="104520"/>
                </a:cubicBezTo>
                <a:lnTo>
                  <a:pt x="15875" y="104775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30" name="Freeform 3"/>
          <p:cNvSpPr/>
          <p:nvPr/>
        </p:nvSpPr>
        <p:spPr>
          <a:xfrm>
            <a:off x="1323554" y="3417248"/>
            <a:ext cx="125709" cy="110281"/>
          </a:xfrm>
          <a:custGeom>
            <a:avLst/>
            <a:gdLst>
              <a:gd name="connsiteX0" fmla="*/ 14097 w 128270"/>
              <a:gd name="connsiteY0" fmla="*/ 106171 h 112521"/>
              <a:gd name="connsiteX1" fmla="*/ 6350 w 128270"/>
              <a:gd name="connsiteY1" fmla="*/ 23113 h 112521"/>
              <a:gd name="connsiteX2" fmla="*/ 29972 w 128270"/>
              <a:gd name="connsiteY2" fmla="*/ 19811 h 112521"/>
              <a:gd name="connsiteX3" fmla="*/ 30226 w 128270"/>
              <a:gd name="connsiteY3" fmla="*/ 22859 h 112521"/>
              <a:gd name="connsiteX4" fmla="*/ 18796 w 128270"/>
              <a:gd name="connsiteY4" fmla="*/ 27685 h 112521"/>
              <a:gd name="connsiteX5" fmla="*/ 14605 w 128270"/>
              <a:gd name="connsiteY5" fmla="*/ 34035 h 112521"/>
              <a:gd name="connsiteX6" fmla="*/ 14351 w 128270"/>
              <a:gd name="connsiteY6" fmla="*/ 45465 h 112521"/>
              <a:gd name="connsiteX7" fmla="*/ 17145 w 128270"/>
              <a:gd name="connsiteY7" fmla="*/ 74929 h 112521"/>
              <a:gd name="connsiteX8" fmla="*/ 59690 w 128270"/>
              <a:gd name="connsiteY8" fmla="*/ 71120 h 112521"/>
              <a:gd name="connsiteX9" fmla="*/ 57531 w 128270"/>
              <a:gd name="connsiteY9" fmla="*/ 47370 h 112521"/>
              <a:gd name="connsiteX10" fmla="*/ 53594 w 128270"/>
              <a:gd name="connsiteY10" fmla="*/ 35305 h 112521"/>
              <a:gd name="connsiteX11" fmla="*/ 40386 w 128270"/>
              <a:gd name="connsiteY11" fmla="*/ 31876 h 112521"/>
              <a:gd name="connsiteX12" fmla="*/ 40005 w 128270"/>
              <a:gd name="connsiteY12" fmla="*/ 28955 h 112521"/>
              <a:gd name="connsiteX13" fmla="*/ 77597 w 128270"/>
              <a:gd name="connsiteY13" fmla="*/ 25526 h 112521"/>
              <a:gd name="connsiteX14" fmla="*/ 77851 w 128270"/>
              <a:gd name="connsiteY14" fmla="*/ 28447 h 112521"/>
              <a:gd name="connsiteX15" fmla="*/ 67945 w 128270"/>
              <a:gd name="connsiteY15" fmla="*/ 31622 h 112521"/>
              <a:gd name="connsiteX16" fmla="*/ 64008 w 128270"/>
              <a:gd name="connsiteY16" fmla="*/ 36702 h 112521"/>
              <a:gd name="connsiteX17" fmla="*/ 63373 w 128270"/>
              <a:gd name="connsiteY17" fmla="*/ 46863 h 112521"/>
              <a:gd name="connsiteX18" fmla="*/ 65532 w 128270"/>
              <a:gd name="connsiteY18" fmla="*/ 70484 h 112521"/>
              <a:gd name="connsiteX19" fmla="*/ 101092 w 128270"/>
              <a:gd name="connsiteY19" fmla="*/ 67182 h 112521"/>
              <a:gd name="connsiteX20" fmla="*/ 109728 w 128270"/>
              <a:gd name="connsiteY20" fmla="*/ 65785 h 112521"/>
              <a:gd name="connsiteX21" fmla="*/ 112014 w 128270"/>
              <a:gd name="connsiteY21" fmla="*/ 63372 h 112521"/>
              <a:gd name="connsiteX22" fmla="*/ 112268 w 128270"/>
              <a:gd name="connsiteY22" fmla="*/ 57276 h 112521"/>
              <a:gd name="connsiteX23" fmla="*/ 110617 w 128270"/>
              <a:gd name="connsiteY23" fmla="*/ 38988 h 112521"/>
              <a:gd name="connsiteX24" fmla="*/ 108204 w 128270"/>
              <a:gd name="connsiteY24" fmla="*/ 25780 h 112521"/>
              <a:gd name="connsiteX25" fmla="*/ 102362 w 128270"/>
              <a:gd name="connsiteY25" fmla="*/ 18288 h 112521"/>
              <a:gd name="connsiteX26" fmla="*/ 86614 w 128270"/>
              <a:gd name="connsiteY26" fmla="*/ 9525 h 112521"/>
              <a:gd name="connsiteX27" fmla="*/ 86360 w 128270"/>
              <a:gd name="connsiteY27" fmla="*/ 6350 h 112521"/>
              <a:gd name="connsiteX28" fmla="*/ 114173 w 128270"/>
              <a:gd name="connsiteY28" fmla="*/ 13207 h 112521"/>
              <a:gd name="connsiteX29" fmla="*/ 121920 w 128270"/>
              <a:gd name="connsiteY29" fmla="*/ 96265 h 112521"/>
              <a:gd name="connsiteX30" fmla="*/ 118872 w 128270"/>
              <a:gd name="connsiteY30" fmla="*/ 96520 h 112521"/>
              <a:gd name="connsiteX31" fmla="*/ 118618 w 128270"/>
              <a:gd name="connsiteY31" fmla="*/ 92709 h 112521"/>
              <a:gd name="connsiteX32" fmla="*/ 116078 w 128270"/>
              <a:gd name="connsiteY32" fmla="*/ 85597 h 112521"/>
              <a:gd name="connsiteX33" fmla="*/ 111887 w 128270"/>
              <a:gd name="connsiteY33" fmla="*/ 82550 h 112521"/>
              <a:gd name="connsiteX34" fmla="*/ 101473 w 128270"/>
              <a:gd name="connsiteY34" fmla="*/ 82550 h 112521"/>
              <a:gd name="connsiteX35" fmla="*/ 31369 w 128270"/>
              <a:gd name="connsiteY35" fmla="*/ 89026 h 112521"/>
              <a:gd name="connsiteX36" fmla="*/ 18923 w 128270"/>
              <a:gd name="connsiteY36" fmla="*/ 92328 h 112521"/>
              <a:gd name="connsiteX37" fmla="*/ 16637 w 128270"/>
              <a:gd name="connsiteY37" fmla="*/ 102107 h 112521"/>
              <a:gd name="connsiteX38" fmla="*/ 17018 w 128270"/>
              <a:gd name="connsiteY38" fmla="*/ 105917 h 112521"/>
              <a:gd name="connsiteX39" fmla="*/ 14097 w 128270"/>
              <a:gd name="connsiteY39" fmla="*/ 106171 h 11252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  <a:cxn ang="36">
                <a:pos x="connsiteX36" y="connsiteY36"/>
              </a:cxn>
              <a:cxn ang="37">
                <a:pos x="connsiteX37" y="connsiteY37"/>
              </a:cxn>
              <a:cxn ang="38">
                <a:pos x="connsiteX38" y="connsiteY38"/>
              </a:cxn>
              <a:cxn ang="39">
                <a:pos x="connsiteX39" y="connsiteY39"/>
              </a:cxn>
            </a:cxnLst>
            <a:rect l="l" t="t" r="r" b="b"/>
            <a:pathLst>
              <a:path w="128270" h="112521">
                <a:moveTo>
                  <a:pt x="14097" y="106171"/>
                </a:moveTo>
                <a:lnTo>
                  <a:pt x="6350" y="23113"/>
                </a:lnTo>
                <a:lnTo>
                  <a:pt x="29972" y="19811"/>
                </a:lnTo>
                <a:lnTo>
                  <a:pt x="30226" y="22859"/>
                </a:lnTo>
                <a:cubicBezTo>
                  <a:pt x="24638" y="24510"/>
                  <a:pt x="20828" y="26161"/>
                  <a:pt x="18796" y="27685"/>
                </a:cubicBezTo>
                <a:cubicBezTo>
                  <a:pt x="16891" y="29209"/>
                  <a:pt x="15367" y="31369"/>
                  <a:pt x="14605" y="34035"/>
                </a:cubicBezTo>
                <a:cubicBezTo>
                  <a:pt x="13970" y="36321"/>
                  <a:pt x="13843" y="40004"/>
                  <a:pt x="14351" y="45465"/>
                </a:cubicBezTo>
                <a:lnTo>
                  <a:pt x="17145" y="74929"/>
                </a:lnTo>
                <a:lnTo>
                  <a:pt x="59690" y="71120"/>
                </a:lnTo>
                <a:lnTo>
                  <a:pt x="57531" y="47370"/>
                </a:lnTo>
                <a:cubicBezTo>
                  <a:pt x="57023" y="41275"/>
                  <a:pt x="55626" y="37210"/>
                  <a:pt x="53594" y="35305"/>
                </a:cubicBezTo>
                <a:cubicBezTo>
                  <a:pt x="50927" y="32765"/>
                  <a:pt x="46482" y="31622"/>
                  <a:pt x="40386" y="31876"/>
                </a:cubicBezTo>
                <a:lnTo>
                  <a:pt x="40005" y="28955"/>
                </a:lnTo>
                <a:lnTo>
                  <a:pt x="77597" y="25526"/>
                </a:lnTo>
                <a:lnTo>
                  <a:pt x="77851" y="28447"/>
                </a:lnTo>
                <a:cubicBezTo>
                  <a:pt x="72644" y="29590"/>
                  <a:pt x="69342" y="30733"/>
                  <a:pt x="67945" y="31622"/>
                </a:cubicBezTo>
                <a:cubicBezTo>
                  <a:pt x="66167" y="32765"/>
                  <a:pt x="64897" y="34416"/>
                  <a:pt x="64008" y="36702"/>
                </a:cubicBezTo>
                <a:cubicBezTo>
                  <a:pt x="63119" y="38988"/>
                  <a:pt x="62992" y="42290"/>
                  <a:pt x="63373" y="46863"/>
                </a:cubicBezTo>
                <a:lnTo>
                  <a:pt x="65532" y="70484"/>
                </a:lnTo>
                <a:lnTo>
                  <a:pt x="101092" y="67182"/>
                </a:lnTo>
                <a:cubicBezTo>
                  <a:pt x="105791" y="66801"/>
                  <a:pt x="108712" y="66294"/>
                  <a:pt x="109728" y="65785"/>
                </a:cubicBezTo>
                <a:cubicBezTo>
                  <a:pt x="110744" y="65277"/>
                  <a:pt x="111506" y="64515"/>
                  <a:pt x="112014" y="63372"/>
                </a:cubicBezTo>
                <a:cubicBezTo>
                  <a:pt x="112522" y="62229"/>
                  <a:pt x="112649" y="60197"/>
                  <a:pt x="112268" y="57276"/>
                </a:cubicBezTo>
                <a:lnTo>
                  <a:pt x="110617" y="38988"/>
                </a:lnTo>
                <a:cubicBezTo>
                  <a:pt x="110109" y="32892"/>
                  <a:pt x="109220" y="28447"/>
                  <a:pt x="108204" y="25780"/>
                </a:cubicBezTo>
                <a:cubicBezTo>
                  <a:pt x="107061" y="23113"/>
                  <a:pt x="105156" y="20573"/>
                  <a:pt x="102362" y="18288"/>
                </a:cubicBezTo>
                <a:cubicBezTo>
                  <a:pt x="98806" y="15366"/>
                  <a:pt x="93599" y="12445"/>
                  <a:pt x="86614" y="9525"/>
                </a:cubicBezTo>
                <a:lnTo>
                  <a:pt x="86360" y="6350"/>
                </a:lnTo>
                <a:lnTo>
                  <a:pt x="114173" y="13207"/>
                </a:lnTo>
                <a:lnTo>
                  <a:pt x="121920" y="96265"/>
                </a:lnTo>
                <a:lnTo>
                  <a:pt x="118872" y="96520"/>
                </a:lnTo>
                <a:lnTo>
                  <a:pt x="118618" y="92709"/>
                </a:lnTo>
                <a:cubicBezTo>
                  <a:pt x="118364" y="90170"/>
                  <a:pt x="117475" y="87883"/>
                  <a:pt x="116078" y="85597"/>
                </a:cubicBezTo>
                <a:cubicBezTo>
                  <a:pt x="115062" y="84073"/>
                  <a:pt x="113665" y="83057"/>
                  <a:pt x="111887" y="82550"/>
                </a:cubicBezTo>
                <a:cubicBezTo>
                  <a:pt x="110236" y="82041"/>
                  <a:pt x="106680" y="82169"/>
                  <a:pt x="101473" y="82550"/>
                </a:cubicBezTo>
                <a:lnTo>
                  <a:pt x="31369" y="89026"/>
                </a:lnTo>
                <a:cubicBezTo>
                  <a:pt x="24511" y="89661"/>
                  <a:pt x="20447" y="90804"/>
                  <a:pt x="18923" y="92328"/>
                </a:cubicBezTo>
                <a:cubicBezTo>
                  <a:pt x="17018" y="94360"/>
                  <a:pt x="16256" y="97663"/>
                  <a:pt x="16637" y="102107"/>
                </a:cubicBezTo>
                <a:lnTo>
                  <a:pt x="17018" y="105917"/>
                </a:lnTo>
                <a:lnTo>
                  <a:pt x="14097" y="106171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31" name="Freeform 3"/>
          <p:cNvSpPr/>
          <p:nvPr/>
        </p:nvSpPr>
        <p:spPr>
          <a:xfrm>
            <a:off x="1313970" y="3299248"/>
            <a:ext cx="126207" cy="129575"/>
          </a:xfrm>
          <a:custGeom>
            <a:avLst/>
            <a:gdLst>
              <a:gd name="connsiteX0" fmla="*/ 14477 w 128778"/>
              <a:gd name="connsiteY0" fmla="*/ 125857 h 132207"/>
              <a:gd name="connsiteX1" fmla="*/ 11175 w 128778"/>
              <a:gd name="connsiteY1" fmla="*/ 79628 h 132207"/>
              <a:gd name="connsiteX2" fmla="*/ 14097 w 128778"/>
              <a:gd name="connsiteY2" fmla="*/ 79375 h 132207"/>
              <a:gd name="connsiteX3" fmla="*/ 14350 w 128778"/>
              <a:gd name="connsiteY3" fmla="*/ 83311 h 132207"/>
              <a:gd name="connsiteX4" fmla="*/ 16763 w 128778"/>
              <a:gd name="connsiteY4" fmla="*/ 90423 h 132207"/>
              <a:gd name="connsiteX5" fmla="*/ 20827 w 128778"/>
              <a:gd name="connsiteY5" fmla="*/ 93598 h 132207"/>
              <a:gd name="connsiteX6" fmla="*/ 31496 w 128778"/>
              <a:gd name="connsiteY6" fmla="*/ 93726 h 132207"/>
              <a:gd name="connsiteX7" fmla="*/ 62357 w 128778"/>
              <a:gd name="connsiteY7" fmla="*/ 91440 h 132207"/>
              <a:gd name="connsiteX8" fmla="*/ 58674 w 128778"/>
              <a:gd name="connsiteY8" fmla="*/ 41275 h 132207"/>
              <a:gd name="connsiteX9" fmla="*/ 27813 w 128778"/>
              <a:gd name="connsiteY9" fmla="*/ 43560 h 132207"/>
              <a:gd name="connsiteX10" fmla="*/ 16891 w 128778"/>
              <a:gd name="connsiteY10" fmla="*/ 45339 h 132207"/>
              <a:gd name="connsiteX11" fmla="*/ 13716 w 128778"/>
              <a:gd name="connsiteY11" fmla="*/ 49022 h 132207"/>
              <a:gd name="connsiteX12" fmla="*/ 12446 w 128778"/>
              <a:gd name="connsiteY12" fmla="*/ 56388 h 132207"/>
              <a:gd name="connsiteX13" fmla="*/ 12700 w 128778"/>
              <a:gd name="connsiteY13" fmla="*/ 60197 h 132207"/>
              <a:gd name="connsiteX14" fmla="*/ 9778 w 128778"/>
              <a:gd name="connsiteY14" fmla="*/ 60452 h 132207"/>
              <a:gd name="connsiteX15" fmla="*/ 6350 w 128778"/>
              <a:gd name="connsiteY15" fmla="*/ 14223 h 132207"/>
              <a:gd name="connsiteX16" fmla="*/ 9271 w 128778"/>
              <a:gd name="connsiteY16" fmla="*/ 13970 h 132207"/>
              <a:gd name="connsiteX17" fmla="*/ 9525 w 128778"/>
              <a:gd name="connsiteY17" fmla="*/ 17907 h 132207"/>
              <a:gd name="connsiteX18" fmla="*/ 11938 w 128778"/>
              <a:gd name="connsiteY18" fmla="*/ 25019 h 132207"/>
              <a:gd name="connsiteX19" fmla="*/ 16002 w 128778"/>
              <a:gd name="connsiteY19" fmla="*/ 28194 h 132207"/>
              <a:gd name="connsiteX20" fmla="*/ 26669 w 128778"/>
              <a:gd name="connsiteY20" fmla="*/ 28321 h 132207"/>
              <a:gd name="connsiteX21" fmla="*/ 96266 w 128778"/>
              <a:gd name="connsiteY21" fmla="*/ 23114 h 132207"/>
              <a:gd name="connsiteX22" fmla="*/ 107061 w 128778"/>
              <a:gd name="connsiteY22" fmla="*/ 21335 h 132207"/>
              <a:gd name="connsiteX23" fmla="*/ 110236 w 128778"/>
              <a:gd name="connsiteY23" fmla="*/ 17779 h 132207"/>
              <a:gd name="connsiteX24" fmla="*/ 111633 w 128778"/>
              <a:gd name="connsiteY24" fmla="*/ 10414 h 132207"/>
              <a:gd name="connsiteX25" fmla="*/ 111378 w 128778"/>
              <a:gd name="connsiteY25" fmla="*/ 6477 h 132207"/>
              <a:gd name="connsiteX26" fmla="*/ 114300 w 128778"/>
              <a:gd name="connsiteY26" fmla="*/ 6350 h 132207"/>
              <a:gd name="connsiteX27" fmla="*/ 117728 w 128778"/>
              <a:gd name="connsiteY27" fmla="*/ 52451 h 132207"/>
              <a:gd name="connsiteX28" fmla="*/ 114680 w 128778"/>
              <a:gd name="connsiteY28" fmla="*/ 52704 h 132207"/>
              <a:gd name="connsiteX29" fmla="*/ 114427 w 128778"/>
              <a:gd name="connsiteY29" fmla="*/ 48895 h 132207"/>
              <a:gd name="connsiteX30" fmla="*/ 109855 w 128778"/>
              <a:gd name="connsiteY30" fmla="*/ 39497 h 132207"/>
              <a:gd name="connsiteX31" fmla="*/ 97408 w 128778"/>
              <a:gd name="connsiteY31" fmla="*/ 38480 h 132207"/>
              <a:gd name="connsiteX32" fmla="*/ 64516 w 128778"/>
              <a:gd name="connsiteY32" fmla="*/ 40894 h 132207"/>
              <a:gd name="connsiteX33" fmla="*/ 68199 w 128778"/>
              <a:gd name="connsiteY33" fmla="*/ 91059 h 132207"/>
              <a:gd name="connsiteX34" fmla="*/ 101091 w 128778"/>
              <a:gd name="connsiteY34" fmla="*/ 88646 h 132207"/>
              <a:gd name="connsiteX35" fmla="*/ 111886 w 128778"/>
              <a:gd name="connsiteY35" fmla="*/ 86741 h 132207"/>
              <a:gd name="connsiteX36" fmla="*/ 115061 w 128778"/>
              <a:gd name="connsiteY36" fmla="*/ 83184 h 132207"/>
              <a:gd name="connsiteX37" fmla="*/ 116458 w 128778"/>
              <a:gd name="connsiteY37" fmla="*/ 75819 h 132207"/>
              <a:gd name="connsiteX38" fmla="*/ 116205 w 128778"/>
              <a:gd name="connsiteY38" fmla="*/ 71882 h 132207"/>
              <a:gd name="connsiteX39" fmla="*/ 119125 w 128778"/>
              <a:gd name="connsiteY39" fmla="*/ 71628 h 132207"/>
              <a:gd name="connsiteX40" fmla="*/ 122427 w 128778"/>
              <a:gd name="connsiteY40" fmla="*/ 117983 h 132207"/>
              <a:gd name="connsiteX41" fmla="*/ 119507 w 128778"/>
              <a:gd name="connsiteY41" fmla="*/ 118109 h 132207"/>
              <a:gd name="connsiteX42" fmla="*/ 119252 w 128778"/>
              <a:gd name="connsiteY42" fmla="*/ 114300 h 132207"/>
              <a:gd name="connsiteX43" fmla="*/ 114680 w 128778"/>
              <a:gd name="connsiteY43" fmla="*/ 104902 h 132207"/>
              <a:gd name="connsiteX44" fmla="*/ 102235 w 128778"/>
              <a:gd name="connsiteY44" fmla="*/ 103885 h 132207"/>
              <a:gd name="connsiteX45" fmla="*/ 32638 w 128778"/>
              <a:gd name="connsiteY45" fmla="*/ 108966 h 132207"/>
              <a:gd name="connsiteX46" fmla="*/ 21716 w 128778"/>
              <a:gd name="connsiteY46" fmla="*/ 110871 h 132207"/>
              <a:gd name="connsiteX47" fmla="*/ 18541 w 128778"/>
              <a:gd name="connsiteY47" fmla="*/ 114300 h 132207"/>
              <a:gd name="connsiteX48" fmla="*/ 17144 w 128778"/>
              <a:gd name="connsiteY48" fmla="*/ 121792 h 132207"/>
              <a:gd name="connsiteX49" fmla="*/ 17525 w 128778"/>
              <a:gd name="connsiteY49" fmla="*/ 125603 h 132207"/>
              <a:gd name="connsiteX50" fmla="*/ 14477 w 128778"/>
              <a:gd name="connsiteY50" fmla="*/ 125857 h 13220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  <a:cxn ang="36">
                <a:pos x="connsiteX36" y="connsiteY36"/>
              </a:cxn>
              <a:cxn ang="37">
                <a:pos x="connsiteX37" y="connsiteY37"/>
              </a:cxn>
              <a:cxn ang="38">
                <a:pos x="connsiteX38" y="connsiteY38"/>
              </a:cxn>
              <a:cxn ang="39">
                <a:pos x="connsiteX39" y="connsiteY39"/>
              </a:cxn>
              <a:cxn ang="40">
                <a:pos x="connsiteX40" y="connsiteY40"/>
              </a:cxn>
              <a:cxn ang="41">
                <a:pos x="connsiteX41" y="connsiteY41"/>
              </a:cxn>
              <a:cxn ang="42">
                <a:pos x="connsiteX42" y="connsiteY42"/>
              </a:cxn>
              <a:cxn ang="43">
                <a:pos x="connsiteX43" y="connsiteY43"/>
              </a:cxn>
              <a:cxn ang="44">
                <a:pos x="connsiteX44" y="connsiteY44"/>
              </a:cxn>
              <a:cxn ang="45">
                <a:pos x="connsiteX45" y="connsiteY45"/>
              </a:cxn>
              <a:cxn ang="46">
                <a:pos x="connsiteX46" y="connsiteY46"/>
              </a:cxn>
              <a:cxn ang="47">
                <a:pos x="connsiteX47" y="connsiteY47"/>
              </a:cxn>
              <a:cxn ang="48">
                <a:pos x="connsiteX48" y="connsiteY48"/>
              </a:cxn>
              <a:cxn ang="49">
                <a:pos x="connsiteX49" y="connsiteY49"/>
              </a:cxn>
              <a:cxn ang="50">
                <a:pos x="connsiteX50" y="connsiteY50"/>
              </a:cxn>
            </a:cxnLst>
            <a:rect l="l" t="t" r="r" b="b"/>
            <a:pathLst>
              <a:path w="128778" h="132207">
                <a:moveTo>
                  <a:pt x="14477" y="125857"/>
                </a:moveTo>
                <a:lnTo>
                  <a:pt x="11175" y="79628"/>
                </a:lnTo>
                <a:lnTo>
                  <a:pt x="14097" y="79375"/>
                </a:lnTo>
                <a:lnTo>
                  <a:pt x="14350" y="83311"/>
                </a:lnTo>
                <a:cubicBezTo>
                  <a:pt x="14605" y="85852"/>
                  <a:pt x="15366" y="88265"/>
                  <a:pt x="16763" y="90423"/>
                </a:cubicBezTo>
                <a:cubicBezTo>
                  <a:pt x="17652" y="91947"/>
                  <a:pt x="19050" y="93091"/>
                  <a:pt x="20827" y="93598"/>
                </a:cubicBezTo>
                <a:cubicBezTo>
                  <a:pt x="22605" y="94107"/>
                  <a:pt x="26161" y="94107"/>
                  <a:pt x="31496" y="93726"/>
                </a:cubicBezTo>
                <a:lnTo>
                  <a:pt x="62357" y="91440"/>
                </a:lnTo>
                <a:lnTo>
                  <a:pt x="58674" y="41275"/>
                </a:lnTo>
                <a:lnTo>
                  <a:pt x="27813" y="43560"/>
                </a:lnTo>
                <a:cubicBezTo>
                  <a:pt x="22225" y="43941"/>
                  <a:pt x="18669" y="44577"/>
                  <a:pt x="16891" y="45339"/>
                </a:cubicBezTo>
                <a:cubicBezTo>
                  <a:pt x="15621" y="45973"/>
                  <a:pt x="14605" y="47244"/>
                  <a:pt x="13716" y="49022"/>
                </a:cubicBezTo>
                <a:cubicBezTo>
                  <a:pt x="12700" y="51308"/>
                  <a:pt x="12191" y="53847"/>
                  <a:pt x="12446" y="56388"/>
                </a:cubicBezTo>
                <a:lnTo>
                  <a:pt x="12700" y="60197"/>
                </a:lnTo>
                <a:lnTo>
                  <a:pt x="9778" y="60452"/>
                </a:lnTo>
                <a:lnTo>
                  <a:pt x="6350" y="14223"/>
                </a:lnTo>
                <a:lnTo>
                  <a:pt x="9271" y="13970"/>
                </a:lnTo>
                <a:lnTo>
                  <a:pt x="9525" y="17907"/>
                </a:lnTo>
                <a:cubicBezTo>
                  <a:pt x="9778" y="20447"/>
                  <a:pt x="10541" y="22733"/>
                  <a:pt x="11938" y="25019"/>
                </a:cubicBezTo>
                <a:cubicBezTo>
                  <a:pt x="12953" y="26542"/>
                  <a:pt x="14224" y="27685"/>
                  <a:pt x="16002" y="28194"/>
                </a:cubicBezTo>
                <a:cubicBezTo>
                  <a:pt x="17780" y="28575"/>
                  <a:pt x="21336" y="28702"/>
                  <a:pt x="26669" y="28321"/>
                </a:cubicBezTo>
                <a:lnTo>
                  <a:pt x="96266" y="23114"/>
                </a:lnTo>
                <a:cubicBezTo>
                  <a:pt x="101727" y="22733"/>
                  <a:pt x="105410" y="22097"/>
                  <a:pt x="107061" y="21335"/>
                </a:cubicBezTo>
                <a:cubicBezTo>
                  <a:pt x="108330" y="20701"/>
                  <a:pt x="109474" y="19558"/>
                  <a:pt x="110236" y="17779"/>
                </a:cubicBezTo>
                <a:cubicBezTo>
                  <a:pt x="111378" y="15366"/>
                  <a:pt x="111760" y="12953"/>
                  <a:pt x="111633" y="10414"/>
                </a:cubicBezTo>
                <a:lnTo>
                  <a:pt x="111378" y="6477"/>
                </a:lnTo>
                <a:lnTo>
                  <a:pt x="114300" y="6350"/>
                </a:lnTo>
                <a:lnTo>
                  <a:pt x="117728" y="52451"/>
                </a:lnTo>
                <a:lnTo>
                  <a:pt x="114680" y="52704"/>
                </a:lnTo>
                <a:lnTo>
                  <a:pt x="114427" y="48895"/>
                </a:lnTo>
                <a:cubicBezTo>
                  <a:pt x="114172" y="44450"/>
                  <a:pt x="112649" y="41402"/>
                  <a:pt x="109855" y="39497"/>
                </a:cubicBezTo>
                <a:cubicBezTo>
                  <a:pt x="108077" y="38353"/>
                  <a:pt x="103886" y="37972"/>
                  <a:pt x="97408" y="38480"/>
                </a:cubicBezTo>
                <a:lnTo>
                  <a:pt x="64516" y="40894"/>
                </a:lnTo>
                <a:lnTo>
                  <a:pt x="68199" y="91059"/>
                </a:lnTo>
                <a:lnTo>
                  <a:pt x="101091" y="88646"/>
                </a:lnTo>
                <a:cubicBezTo>
                  <a:pt x="106552" y="88265"/>
                  <a:pt x="110236" y="87629"/>
                  <a:pt x="111886" y="86741"/>
                </a:cubicBezTo>
                <a:cubicBezTo>
                  <a:pt x="113157" y="86105"/>
                  <a:pt x="114172" y="84963"/>
                  <a:pt x="115061" y="83184"/>
                </a:cubicBezTo>
                <a:cubicBezTo>
                  <a:pt x="116205" y="80772"/>
                  <a:pt x="116586" y="78359"/>
                  <a:pt x="116458" y="75819"/>
                </a:cubicBezTo>
                <a:lnTo>
                  <a:pt x="116205" y="71882"/>
                </a:lnTo>
                <a:lnTo>
                  <a:pt x="119125" y="71628"/>
                </a:lnTo>
                <a:lnTo>
                  <a:pt x="122427" y="117983"/>
                </a:lnTo>
                <a:lnTo>
                  <a:pt x="119507" y="118109"/>
                </a:lnTo>
                <a:lnTo>
                  <a:pt x="119252" y="114300"/>
                </a:lnTo>
                <a:cubicBezTo>
                  <a:pt x="118872" y="109854"/>
                  <a:pt x="117347" y="106679"/>
                  <a:pt x="114680" y="104902"/>
                </a:cubicBezTo>
                <a:cubicBezTo>
                  <a:pt x="112902" y="103759"/>
                  <a:pt x="108711" y="103378"/>
                  <a:pt x="102235" y="103885"/>
                </a:cubicBezTo>
                <a:lnTo>
                  <a:pt x="32638" y="108966"/>
                </a:lnTo>
                <a:cubicBezTo>
                  <a:pt x="27050" y="109473"/>
                  <a:pt x="23494" y="109982"/>
                  <a:pt x="21716" y="110871"/>
                </a:cubicBezTo>
                <a:cubicBezTo>
                  <a:pt x="20447" y="111505"/>
                  <a:pt x="19430" y="112648"/>
                  <a:pt x="18541" y="114300"/>
                </a:cubicBezTo>
                <a:cubicBezTo>
                  <a:pt x="17525" y="116840"/>
                  <a:pt x="17018" y="119253"/>
                  <a:pt x="17144" y="121792"/>
                </a:cubicBezTo>
                <a:lnTo>
                  <a:pt x="17525" y="125603"/>
                </a:lnTo>
                <a:lnTo>
                  <a:pt x="14477" y="125857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24" name="Freeform 3"/>
          <p:cNvSpPr/>
          <p:nvPr/>
        </p:nvSpPr>
        <p:spPr>
          <a:xfrm>
            <a:off x="1307622" y="3184237"/>
            <a:ext cx="124215" cy="127832"/>
          </a:xfrm>
          <a:custGeom>
            <a:avLst/>
            <a:gdLst>
              <a:gd name="connsiteX0" fmla="*/ 12319 w 126746"/>
              <a:gd name="connsiteY0" fmla="*/ 124078 h 130429"/>
              <a:gd name="connsiteX1" fmla="*/ 9905 w 126746"/>
              <a:gd name="connsiteY1" fmla="*/ 77470 h 130429"/>
              <a:gd name="connsiteX2" fmla="*/ 12827 w 126746"/>
              <a:gd name="connsiteY2" fmla="*/ 77215 h 130429"/>
              <a:gd name="connsiteX3" fmla="*/ 16637 w 126746"/>
              <a:gd name="connsiteY3" fmla="*/ 90042 h 130429"/>
              <a:gd name="connsiteX4" fmla="*/ 30352 w 126746"/>
              <a:gd name="connsiteY4" fmla="*/ 92075 h 130429"/>
              <a:gd name="connsiteX5" fmla="*/ 92583 w 126746"/>
              <a:gd name="connsiteY5" fmla="*/ 88772 h 130429"/>
              <a:gd name="connsiteX6" fmla="*/ 25908 w 126746"/>
              <a:gd name="connsiteY6" fmla="*/ 42036 h 130429"/>
              <a:gd name="connsiteX7" fmla="*/ 13716 w 126746"/>
              <a:gd name="connsiteY7" fmla="*/ 45846 h 130429"/>
              <a:gd name="connsiteX8" fmla="*/ 11811 w 126746"/>
              <a:gd name="connsiteY8" fmla="*/ 58673 h 130429"/>
              <a:gd name="connsiteX9" fmla="*/ 8890 w 126746"/>
              <a:gd name="connsiteY9" fmla="*/ 58801 h 130429"/>
              <a:gd name="connsiteX10" fmla="*/ 6350 w 126746"/>
              <a:gd name="connsiteY10" fmla="*/ 12064 h 130429"/>
              <a:gd name="connsiteX11" fmla="*/ 9398 w 126746"/>
              <a:gd name="connsiteY11" fmla="*/ 11938 h 130429"/>
              <a:gd name="connsiteX12" fmla="*/ 13208 w 126746"/>
              <a:gd name="connsiteY12" fmla="*/ 24510 h 130429"/>
              <a:gd name="connsiteX13" fmla="*/ 26924 w 126746"/>
              <a:gd name="connsiteY13" fmla="*/ 26670 h 130429"/>
              <a:gd name="connsiteX14" fmla="*/ 95630 w 126746"/>
              <a:gd name="connsiteY14" fmla="*/ 22986 h 130429"/>
              <a:gd name="connsiteX15" fmla="*/ 109093 w 126746"/>
              <a:gd name="connsiteY15" fmla="*/ 19557 h 130429"/>
              <a:gd name="connsiteX16" fmla="*/ 111505 w 126746"/>
              <a:gd name="connsiteY16" fmla="*/ 6476 h 130429"/>
              <a:gd name="connsiteX17" fmla="*/ 114554 w 126746"/>
              <a:gd name="connsiteY17" fmla="*/ 6350 h 130429"/>
              <a:gd name="connsiteX18" fmla="*/ 116966 w 126746"/>
              <a:gd name="connsiteY18" fmla="*/ 53085 h 130429"/>
              <a:gd name="connsiteX19" fmla="*/ 114046 w 126746"/>
              <a:gd name="connsiteY19" fmla="*/ 53339 h 130429"/>
              <a:gd name="connsiteX20" fmla="*/ 110109 w 126746"/>
              <a:gd name="connsiteY20" fmla="*/ 40385 h 130429"/>
              <a:gd name="connsiteX21" fmla="*/ 96393 w 126746"/>
              <a:gd name="connsiteY21" fmla="*/ 38353 h 130429"/>
              <a:gd name="connsiteX22" fmla="*/ 34416 w 126746"/>
              <a:gd name="connsiteY22" fmla="*/ 41528 h 130429"/>
              <a:gd name="connsiteX23" fmla="*/ 101346 w 126746"/>
              <a:gd name="connsiteY23" fmla="*/ 88391 h 130429"/>
              <a:gd name="connsiteX24" fmla="*/ 110616 w 126746"/>
              <a:gd name="connsiteY24" fmla="*/ 86867 h 130429"/>
              <a:gd name="connsiteX25" fmla="*/ 114046 w 126746"/>
              <a:gd name="connsiteY25" fmla="*/ 82803 h 130429"/>
              <a:gd name="connsiteX26" fmla="*/ 115062 w 126746"/>
              <a:gd name="connsiteY26" fmla="*/ 71882 h 130429"/>
              <a:gd name="connsiteX27" fmla="*/ 117983 w 126746"/>
              <a:gd name="connsiteY27" fmla="*/ 71754 h 130429"/>
              <a:gd name="connsiteX28" fmla="*/ 120396 w 126746"/>
              <a:gd name="connsiteY28" fmla="*/ 118364 h 130429"/>
              <a:gd name="connsiteX29" fmla="*/ 117475 w 126746"/>
              <a:gd name="connsiteY29" fmla="*/ 118490 h 130429"/>
              <a:gd name="connsiteX30" fmla="*/ 113538 w 126746"/>
              <a:gd name="connsiteY30" fmla="*/ 105790 h 130429"/>
              <a:gd name="connsiteX31" fmla="*/ 99949 w 126746"/>
              <a:gd name="connsiteY31" fmla="*/ 103758 h 130429"/>
              <a:gd name="connsiteX32" fmla="*/ 31241 w 126746"/>
              <a:gd name="connsiteY32" fmla="*/ 107441 h 130429"/>
              <a:gd name="connsiteX33" fmla="*/ 17780 w 126746"/>
              <a:gd name="connsiteY33" fmla="*/ 110870 h 130429"/>
              <a:gd name="connsiteX34" fmla="*/ 15240 w 126746"/>
              <a:gd name="connsiteY34" fmla="*/ 123951 h 130429"/>
              <a:gd name="connsiteX35" fmla="*/ 12319 w 126746"/>
              <a:gd name="connsiteY35" fmla="*/ 124078 h 13042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</a:cxnLst>
            <a:rect l="l" t="t" r="r" b="b"/>
            <a:pathLst>
              <a:path w="126746" h="130429">
                <a:moveTo>
                  <a:pt x="12319" y="124078"/>
                </a:moveTo>
                <a:lnTo>
                  <a:pt x="9905" y="77470"/>
                </a:lnTo>
                <a:lnTo>
                  <a:pt x="12827" y="77215"/>
                </a:lnTo>
                <a:cubicBezTo>
                  <a:pt x="13335" y="83946"/>
                  <a:pt x="14605" y="88264"/>
                  <a:pt x="16637" y="90042"/>
                </a:cubicBezTo>
                <a:cubicBezTo>
                  <a:pt x="18669" y="91820"/>
                  <a:pt x="23241" y="92455"/>
                  <a:pt x="30352" y="92075"/>
                </a:cubicBezTo>
                <a:lnTo>
                  <a:pt x="92583" y="88772"/>
                </a:lnTo>
                <a:lnTo>
                  <a:pt x="25908" y="42036"/>
                </a:lnTo>
                <a:cubicBezTo>
                  <a:pt x="19430" y="42417"/>
                  <a:pt x="15366" y="43688"/>
                  <a:pt x="13716" y="45846"/>
                </a:cubicBezTo>
                <a:cubicBezTo>
                  <a:pt x="12191" y="48005"/>
                  <a:pt x="11430" y="52323"/>
                  <a:pt x="11811" y="58673"/>
                </a:cubicBezTo>
                <a:lnTo>
                  <a:pt x="8890" y="58801"/>
                </a:lnTo>
                <a:lnTo>
                  <a:pt x="6350" y="12064"/>
                </a:lnTo>
                <a:lnTo>
                  <a:pt x="9398" y="11938"/>
                </a:lnTo>
                <a:cubicBezTo>
                  <a:pt x="9905" y="18541"/>
                  <a:pt x="11176" y="22732"/>
                  <a:pt x="13208" y="24510"/>
                </a:cubicBezTo>
                <a:cubicBezTo>
                  <a:pt x="15240" y="26289"/>
                  <a:pt x="19812" y="27051"/>
                  <a:pt x="26924" y="26670"/>
                </a:cubicBezTo>
                <a:lnTo>
                  <a:pt x="95630" y="22986"/>
                </a:lnTo>
                <a:cubicBezTo>
                  <a:pt x="102743" y="22605"/>
                  <a:pt x="107188" y="21463"/>
                  <a:pt x="109093" y="19557"/>
                </a:cubicBezTo>
                <a:cubicBezTo>
                  <a:pt x="110871" y="17526"/>
                  <a:pt x="111760" y="13207"/>
                  <a:pt x="111505" y="6476"/>
                </a:cubicBezTo>
                <a:lnTo>
                  <a:pt x="114554" y="6350"/>
                </a:lnTo>
                <a:lnTo>
                  <a:pt x="116966" y="53085"/>
                </a:lnTo>
                <a:lnTo>
                  <a:pt x="114046" y="53339"/>
                </a:lnTo>
                <a:cubicBezTo>
                  <a:pt x="113411" y="46482"/>
                  <a:pt x="112141" y="42164"/>
                  <a:pt x="110109" y="40385"/>
                </a:cubicBezTo>
                <a:cubicBezTo>
                  <a:pt x="108077" y="38607"/>
                  <a:pt x="103505" y="37972"/>
                  <a:pt x="96393" y="38353"/>
                </a:cubicBezTo>
                <a:lnTo>
                  <a:pt x="34416" y="41528"/>
                </a:lnTo>
                <a:lnTo>
                  <a:pt x="101346" y="88391"/>
                </a:lnTo>
                <a:cubicBezTo>
                  <a:pt x="105918" y="88010"/>
                  <a:pt x="108966" y="87629"/>
                  <a:pt x="110616" y="86867"/>
                </a:cubicBezTo>
                <a:cubicBezTo>
                  <a:pt x="112141" y="86232"/>
                  <a:pt x="113284" y="84963"/>
                  <a:pt x="114046" y="82803"/>
                </a:cubicBezTo>
                <a:cubicBezTo>
                  <a:pt x="114808" y="80771"/>
                  <a:pt x="115188" y="77089"/>
                  <a:pt x="115062" y="71882"/>
                </a:cubicBezTo>
                <a:lnTo>
                  <a:pt x="117983" y="71754"/>
                </a:lnTo>
                <a:lnTo>
                  <a:pt x="120396" y="118364"/>
                </a:lnTo>
                <a:lnTo>
                  <a:pt x="117475" y="118490"/>
                </a:lnTo>
                <a:cubicBezTo>
                  <a:pt x="116840" y="111759"/>
                  <a:pt x="115570" y="107569"/>
                  <a:pt x="113538" y="105790"/>
                </a:cubicBezTo>
                <a:cubicBezTo>
                  <a:pt x="111633" y="104013"/>
                  <a:pt x="107061" y="103377"/>
                  <a:pt x="99949" y="103758"/>
                </a:cubicBezTo>
                <a:lnTo>
                  <a:pt x="31241" y="107441"/>
                </a:lnTo>
                <a:cubicBezTo>
                  <a:pt x="24002" y="107695"/>
                  <a:pt x="19558" y="108965"/>
                  <a:pt x="17780" y="110870"/>
                </a:cubicBezTo>
                <a:cubicBezTo>
                  <a:pt x="16002" y="112902"/>
                  <a:pt x="15113" y="117220"/>
                  <a:pt x="15240" y="123951"/>
                </a:cubicBezTo>
                <a:lnTo>
                  <a:pt x="12319" y="124078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25" name="Freeform 3"/>
          <p:cNvSpPr/>
          <p:nvPr/>
        </p:nvSpPr>
        <p:spPr>
          <a:xfrm>
            <a:off x="1304761" y="3089015"/>
            <a:ext cx="121104" cy="105925"/>
          </a:xfrm>
          <a:custGeom>
            <a:avLst/>
            <a:gdLst>
              <a:gd name="connsiteX0" fmla="*/ 9016 w 123571"/>
              <a:gd name="connsiteY0" fmla="*/ 101726 h 108077"/>
              <a:gd name="connsiteX1" fmla="*/ 6350 w 123571"/>
              <a:gd name="connsiteY1" fmla="*/ 18414 h 108077"/>
              <a:gd name="connsiteX2" fmla="*/ 29972 w 123571"/>
              <a:gd name="connsiteY2" fmla="*/ 16383 h 108077"/>
              <a:gd name="connsiteX3" fmla="*/ 30098 w 123571"/>
              <a:gd name="connsiteY3" fmla="*/ 19430 h 108077"/>
              <a:gd name="connsiteX4" fmla="*/ 18414 w 123571"/>
              <a:gd name="connsiteY4" fmla="*/ 23622 h 108077"/>
              <a:gd name="connsiteX5" fmla="*/ 13842 w 123571"/>
              <a:gd name="connsiteY5" fmla="*/ 29717 h 108077"/>
              <a:gd name="connsiteX6" fmla="*/ 12953 w 123571"/>
              <a:gd name="connsiteY6" fmla="*/ 41020 h 108077"/>
              <a:gd name="connsiteX7" fmla="*/ 13969 w 123571"/>
              <a:gd name="connsiteY7" fmla="*/ 70739 h 108077"/>
              <a:gd name="connsiteX8" fmla="*/ 56769 w 123571"/>
              <a:gd name="connsiteY8" fmla="*/ 69342 h 108077"/>
              <a:gd name="connsiteX9" fmla="*/ 55880 w 123571"/>
              <a:gd name="connsiteY9" fmla="*/ 45592 h 108077"/>
              <a:gd name="connsiteX10" fmla="*/ 52705 w 123571"/>
              <a:gd name="connsiteY10" fmla="*/ 33273 h 108077"/>
              <a:gd name="connsiteX11" fmla="*/ 39623 w 123571"/>
              <a:gd name="connsiteY11" fmla="*/ 29083 h 108077"/>
              <a:gd name="connsiteX12" fmla="*/ 39497 w 123571"/>
              <a:gd name="connsiteY12" fmla="*/ 26161 h 108077"/>
              <a:gd name="connsiteX13" fmla="*/ 77216 w 123571"/>
              <a:gd name="connsiteY13" fmla="*/ 24892 h 108077"/>
              <a:gd name="connsiteX14" fmla="*/ 77342 w 123571"/>
              <a:gd name="connsiteY14" fmla="*/ 27813 h 108077"/>
              <a:gd name="connsiteX15" fmla="*/ 67183 w 123571"/>
              <a:gd name="connsiteY15" fmla="*/ 30352 h 108077"/>
              <a:gd name="connsiteX16" fmla="*/ 62991 w 123571"/>
              <a:gd name="connsiteY16" fmla="*/ 35179 h 108077"/>
              <a:gd name="connsiteX17" fmla="*/ 61722 w 123571"/>
              <a:gd name="connsiteY17" fmla="*/ 45339 h 108077"/>
              <a:gd name="connsiteX18" fmla="*/ 62483 w 123571"/>
              <a:gd name="connsiteY18" fmla="*/ 69088 h 108077"/>
              <a:gd name="connsiteX19" fmla="*/ 98170 w 123571"/>
              <a:gd name="connsiteY19" fmla="*/ 67945 h 108077"/>
              <a:gd name="connsiteX20" fmla="*/ 106933 w 123571"/>
              <a:gd name="connsiteY20" fmla="*/ 67055 h 108077"/>
              <a:gd name="connsiteX21" fmla="*/ 109347 w 123571"/>
              <a:gd name="connsiteY21" fmla="*/ 64642 h 108077"/>
              <a:gd name="connsiteX22" fmla="*/ 109981 w 123571"/>
              <a:gd name="connsiteY22" fmla="*/ 58547 h 108077"/>
              <a:gd name="connsiteX23" fmla="*/ 109473 w 123571"/>
              <a:gd name="connsiteY23" fmla="*/ 40258 h 108077"/>
              <a:gd name="connsiteX24" fmla="*/ 107695 w 123571"/>
              <a:gd name="connsiteY24" fmla="*/ 26923 h 108077"/>
              <a:gd name="connsiteX25" fmla="*/ 102361 w 123571"/>
              <a:gd name="connsiteY25" fmla="*/ 19176 h 108077"/>
              <a:gd name="connsiteX26" fmla="*/ 87122 w 123571"/>
              <a:gd name="connsiteY26" fmla="*/ 9525 h 108077"/>
              <a:gd name="connsiteX27" fmla="*/ 86994 w 123571"/>
              <a:gd name="connsiteY27" fmla="*/ 6350 h 108077"/>
              <a:gd name="connsiteX28" fmla="*/ 114426 w 123571"/>
              <a:gd name="connsiteY28" fmla="*/ 14732 h 108077"/>
              <a:gd name="connsiteX29" fmla="*/ 117220 w 123571"/>
              <a:gd name="connsiteY29" fmla="*/ 98170 h 108077"/>
              <a:gd name="connsiteX30" fmla="*/ 114300 w 123571"/>
              <a:gd name="connsiteY30" fmla="*/ 98170 h 108077"/>
              <a:gd name="connsiteX31" fmla="*/ 114172 w 123571"/>
              <a:gd name="connsiteY31" fmla="*/ 94361 h 108077"/>
              <a:gd name="connsiteX32" fmla="*/ 112141 w 123571"/>
              <a:gd name="connsiteY32" fmla="*/ 87248 h 108077"/>
              <a:gd name="connsiteX33" fmla="*/ 108203 w 123571"/>
              <a:gd name="connsiteY33" fmla="*/ 83820 h 108077"/>
              <a:gd name="connsiteX34" fmla="*/ 97662 w 123571"/>
              <a:gd name="connsiteY34" fmla="*/ 83311 h 108077"/>
              <a:gd name="connsiteX35" fmla="*/ 27431 w 123571"/>
              <a:gd name="connsiteY35" fmla="*/ 85598 h 108077"/>
              <a:gd name="connsiteX36" fmla="*/ 14731 w 123571"/>
              <a:gd name="connsiteY36" fmla="*/ 88138 h 108077"/>
              <a:gd name="connsiteX37" fmla="*/ 11937 w 123571"/>
              <a:gd name="connsiteY37" fmla="*/ 97789 h 108077"/>
              <a:gd name="connsiteX38" fmla="*/ 12064 w 123571"/>
              <a:gd name="connsiteY38" fmla="*/ 101600 h 108077"/>
              <a:gd name="connsiteX39" fmla="*/ 9016 w 123571"/>
              <a:gd name="connsiteY39" fmla="*/ 101726 h 10807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  <a:cxn ang="36">
                <a:pos x="connsiteX36" y="connsiteY36"/>
              </a:cxn>
              <a:cxn ang="37">
                <a:pos x="connsiteX37" y="connsiteY37"/>
              </a:cxn>
              <a:cxn ang="38">
                <a:pos x="connsiteX38" y="connsiteY38"/>
              </a:cxn>
              <a:cxn ang="39">
                <a:pos x="connsiteX39" y="connsiteY39"/>
              </a:cxn>
            </a:cxnLst>
            <a:rect l="l" t="t" r="r" b="b"/>
            <a:pathLst>
              <a:path w="123571" h="108077">
                <a:moveTo>
                  <a:pt x="9016" y="101726"/>
                </a:moveTo>
                <a:lnTo>
                  <a:pt x="6350" y="18414"/>
                </a:lnTo>
                <a:lnTo>
                  <a:pt x="29972" y="16383"/>
                </a:lnTo>
                <a:lnTo>
                  <a:pt x="30098" y="19430"/>
                </a:lnTo>
                <a:cubicBezTo>
                  <a:pt x="24383" y="20827"/>
                  <a:pt x="20573" y="22098"/>
                  <a:pt x="18414" y="23622"/>
                </a:cubicBezTo>
                <a:cubicBezTo>
                  <a:pt x="16383" y="25019"/>
                  <a:pt x="14858" y="27051"/>
                  <a:pt x="13842" y="29717"/>
                </a:cubicBezTo>
                <a:cubicBezTo>
                  <a:pt x="13080" y="31876"/>
                  <a:pt x="12826" y="35686"/>
                  <a:pt x="12953" y="41020"/>
                </a:cubicBezTo>
                <a:lnTo>
                  <a:pt x="13969" y="70739"/>
                </a:lnTo>
                <a:lnTo>
                  <a:pt x="56769" y="69342"/>
                </a:lnTo>
                <a:lnTo>
                  <a:pt x="55880" y="45592"/>
                </a:lnTo>
                <a:cubicBezTo>
                  <a:pt x="55752" y="39370"/>
                  <a:pt x="54609" y="35305"/>
                  <a:pt x="52705" y="33273"/>
                </a:cubicBezTo>
                <a:cubicBezTo>
                  <a:pt x="50164" y="30607"/>
                  <a:pt x="45847" y="29210"/>
                  <a:pt x="39623" y="29083"/>
                </a:cubicBezTo>
                <a:lnTo>
                  <a:pt x="39497" y="26161"/>
                </a:lnTo>
                <a:lnTo>
                  <a:pt x="77216" y="24892"/>
                </a:lnTo>
                <a:lnTo>
                  <a:pt x="77342" y="27813"/>
                </a:lnTo>
                <a:cubicBezTo>
                  <a:pt x="72008" y="28701"/>
                  <a:pt x="68706" y="29591"/>
                  <a:pt x="67183" y="30352"/>
                </a:cubicBezTo>
                <a:cubicBezTo>
                  <a:pt x="65405" y="31369"/>
                  <a:pt x="64008" y="33020"/>
                  <a:pt x="62991" y="35179"/>
                </a:cubicBezTo>
                <a:cubicBezTo>
                  <a:pt x="61975" y="37464"/>
                  <a:pt x="61594" y="40767"/>
                  <a:pt x="61722" y="45339"/>
                </a:cubicBezTo>
                <a:lnTo>
                  <a:pt x="62483" y="69088"/>
                </a:lnTo>
                <a:lnTo>
                  <a:pt x="98170" y="67945"/>
                </a:lnTo>
                <a:cubicBezTo>
                  <a:pt x="102997" y="67817"/>
                  <a:pt x="105917" y="67436"/>
                  <a:pt x="106933" y="67055"/>
                </a:cubicBezTo>
                <a:cubicBezTo>
                  <a:pt x="107950" y="66548"/>
                  <a:pt x="108711" y="65786"/>
                  <a:pt x="109347" y="64642"/>
                </a:cubicBezTo>
                <a:cubicBezTo>
                  <a:pt x="109855" y="63626"/>
                  <a:pt x="110108" y="61595"/>
                  <a:pt x="109981" y="58547"/>
                </a:cubicBezTo>
                <a:lnTo>
                  <a:pt x="109473" y="40258"/>
                </a:lnTo>
                <a:cubicBezTo>
                  <a:pt x="109219" y="34163"/>
                  <a:pt x="108711" y="29717"/>
                  <a:pt x="107695" y="26923"/>
                </a:cubicBezTo>
                <a:cubicBezTo>
                  <a:pt x="106806" y="24257"/>
                  <a:pt x="105028" y="21589"/>
                  <a:pt x="102361" y="19176"/>
                </a:cubicBezTo>
                <a:cubicBezTo>
                  <a:pt x="99059" y="16001"/>
                  <a:pt x="93980" y="12700"/>
                  <a:pt x="87122" y="9525"/>
                </a:cubicBezTo>
                <a:lnTo>
                  <a:pt x="86994" y="6350"/>
                </a:lnTo>
                <a:lnTo>
                  <a:pt x="114426" y="14732"/>
                </a:lnTo>
                <a:lnTo>
                  <a:pt x="117220" y="98170"/>
                </a:lnTo>
                <a:lnTo>
                  <a:pt x="114300" y="98170"/>
                </a:lnTo>
                <a:lnTo>
                  <a:pt x="114172" y="94361"/>
                </a:lnTo>
                <a:cubicBezTo>
                  <a:pt x="114045" y="91820"/>
                  <a:pt x="113411" y="89408"/>
                  <a:pt x="112141" y="87248"/>
                </a:cubicBezTo>
                <a:cubicBezTo>
                  <a:pt x="111251" y="85470"/>
                  <a:pt x="109855" y="84455"/>
                  <a:pt x="108203" y="83820"/>
                </a:cubicBezTo>
                <a:cubicBezTo>
                  <a:pt x="106425" y="83311"/>
                  <a:pt x="102997" y="83058"/>
                  <a:pt x="97662" y="83311"/>
                </a:cubicBezTo>
                <a:lnTo>
                  <a:pt x="27431" y="85598"/>
                </a:lnTo>
                <a:cubicBezTo>
                  <a:pt x="20573" y="85851"/>
                  <a:pt x="16383" y="86741"/>
                  <a:pt x="14731" y="88138"/>
                </a:cubicBezTo>
                <a:cubicBezTo>
                  <a:pt x="12700" y="90170"/>
                  <a:pt x="11811" y="93345"/>
                  <a:pt x="11937" y="97789"/>
                </a:cubicBezTo>
                <a:lnTo>
                  <a:pt x="12064" y="101600"/>
                </a:lnTo>
                <a:lnTo>
                  <a:pt x="9016" y="101726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26" name="Freeform 3"/>
          <p:cNvSpPr/>
          <p:nvPr/>
        </p:nvSpPr>
        <p:spPr>
          <a:xfrm>
            <a:off x="1785441" y="4461814"/>
            <a:ext cx="145374" cy="147997"/>
          </a:xfrm>
          <a:custGeom>
            <a:avLst/>
            <a:gdLst>
              <a:gd name="connsiteX0" fmla="*/ 38227 w 148336"/>
              <a:gd name="connsiteY0" fmla="*/ 144653 h 151003"/>
              <a:gd name="connsiteX1" fmla="*/ 6350 w 148336"/>
              <a:gd name="connsiteY1" fmla="*/ 37211 h 151003"/>
              <a:gd name="connsiteX2" fmla="*/ 9144 w 148336"/>
              <a:gd name="connsiteY2" fmla="*/ 36322 h 151003"/>
              <a:gd name="connsiteX3" fmla="*/ 15875 w 148336"/>
              <a:gd name="connsiteY3" fmla="*/ 47752 h 151003"/>
              <a:gd name="connsiteX4" fmla="*/ 29717 w 148336"/>
              <a:gd name="connsiteY4" fmla="*/ 46482 h 151003"/>
              <a:gd name="connsiteX5" fmla="*/ 95630 w 148336"/>
              <a:gd name="connsiteY5" fmla="*/ 26923 h 151003"/>
              <a:gd name="connsiteX6" fmla="*/ 107823 w 148336"/>
              <a:gd name="connsiteY6" fmla="*/ 20447 h 151003"/>
              <a:gd name="connsiteX7" fmla="*/ 107188 w 148336"/>
              <a:gd name="connsiteY7" fmla="*/ 7239 h 151003"/>
              <a:gd name="connsiteX8" fmla="*/ 110108 w 148336"/>
              <a:gd name="connsiteY8" fmla="*/ 6350 h 151003"/>
              <a:gd name="connsiteX9" fmla="*/ 123317 w 148336"/>
              <a:gd name="connsiteY9" fmla="*/ 50927 h 151003"/>
              <a:gd name="connsiteX10" fmla="*/ 120523 w 148336"/>
              <a:gd name="connsiteY10" fmla="*/ 51816 h 151003"/>
              <a:gd name="connsiteX11" fmla="*/ 113792 w 148336"/>
              <a:gd name="connsiteY11" fmla="*/ 40513 h 151003"/>
              <a:gd name="connsiteX12" fmla="*/ 99949 w 148336"/>
              <a:gd name="connsiteY12" fmla="*/ 41655 h 151003"/>
              <a:gd name="connsiteX13" fmla="*/ 20827 w 148336"/>
              <a:gd name="connsiteY13" fmla="*/ 65151 h 151003"/>
              <a:gd name="connsiteX14" fmla="*/ 35052 w 148336"/>
              <a:gd name="connsiteY14" fmla="*/ 113284 h 151003"/>
              <a:gd name="connsiteX15" fmla="*/ 114300 w 148336"/>
              <a:gd name="connsiteY15" fmla="*/ 89789 h 151003"/>
              <a:gd name="connsiteX16" fmla="*/ 126492 w 148336"/>
              <a:gd name="connsiteY16" fmla="*/ 83311 h 151003"/>
              <a:gd name="connsiteX17" fmla="*/ 125857 w 148336"/>
              <a:gd name="connsiteY17" fmla="*/ 69977 h 151003"/>
              <a:gd name="connsiteX18" fmla="*/ 128777 w 148336"/>
              <a:gd name="connsiteY18" fmla="*/ 69215 h 151003"/>
              <a:gd name="connsiteX19" fmla="*/ 141986 w 148336"/>
              <a:gd name="connsiteY19" fmla="*/ 113919 h 151003"/>
              <a:gd name="connsiteX20" fmla="*/ 139192 w 148336"/>
              <a:gd name="connsiteY20" fmla="*/ 114680 h 151003"/>
              <a:gd name="connsiteX21" fmla="*/ 132461 w 148336"/>
              <a:gd name="connsiteY21" fmla="*/ 103251 h 151003"/>
              <a:gd name="connsiteX22" fmla="*/ 118617 w 148336"/>
              <a:gd name="connsiteY22" fmla="*/ 104521 h 151003"/>
              <a:gd name="connsiteX23" fmla="*/ 52705 w 148336"/>
              <a:gd name="connsiteY23" fmla="*/ 124079 h 151003"/>
              <a:gd name="connsiteX24" fmla="*/ 40513 w 148336"/>
              <a:gd name="connsiteY24" fmla="*/ 130555 h 151003"/>
              <a:gd name="connsiteX25" fmla="*/ 41020 w 148336"/>
              <a:gd name="connsiteY25" fmla="*/ 143891 h 151003"/>
              <a:gd name="connsiteX26" fmla="*/ 38227 w 148336"/>
              <a:gd name="connsiteY26" fmla="*/ 144653 h 15100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</a:cxnLst>
            <a:rect l="l" t="t" r="r" b="b"/>
            <a:pathLst>
              <a:path w="148336" h="151003">
                <a:moveTo>
                  <a:pt x="38227" y="144653"/>
                </a:moveTo>
                <a:lnTo>
                  <a:pt x="6350" y="37211"/>
                </a:lnTo>
                <a:lnTo>
                  <a:pt x="9144" y="36322"/>
                </a:lnTo>
                <a:cubicBezTo>
                  <a:pt x="11302" y="42672"/>
                  <a:pt x="13461" y="46482"/>
                  <a:pt x="15875" y="47752"/>
                </a:cubicBezTo>
                <a:cubicBezTo>
                  <a:pt x="18288" y="49022"/>
                  <a:pt x="22860" y="48514"/>
                  <a:pt x="29717" y="46482"/>
                </a:cubicBezTo>
                <a:lnTo>
                  <a:pt x="95630" y="26923"/>
                </a:lnTo>
                <a:cubicBezTo>
                  <a:pt x="102489" y="24892"/>
                  <a:pt x="106552" y="22733"/>
                  <a:pt x="107823" y="20447"/>
                </a:cubicBezTo>
                <a:cubicBezTo>
                  <a:pt x="109092" y="18034"/>
                  <a:pt x="108966" y="13716"/>
                  <a:pt x="107188" y="7239"/>
                </a:cubicBezTo>
                <a:lnTo>
                  <a:pt x="110108" y="6350"/>
                </a:lnTo>
                <a:lnTo>
                  <a:pt x="123317" y="50927"/>
                </a:lnTo>
                <a:lnTo>
                  <a:pt x="120523" y="51816"/>
                </a:lnTo>
                <a:cubicBezTo>
                  <a:pt x="118364" y="45466"/>
                  <a:pt x="116205" y="41655"/>
                  <a:pt x="113792" y="40513"/>
                </a:cubicBezTo>
                <a:cubicBezTo>
                  <a:pt x="111505" y="39242"/>
                  <a:pt x="106933" y="39623"/>
                  <a:pt x="99949" y="41655"/>
                </a:cubicBezTo>
                <a:lnTo>
                  <a:pt x="20827" y="65151"/>
                </a:lnTo>
                <a:lnTo>
                  <a:pt x="35052" y="113284"/>
                </a:lnTo>
                <a:lnTo>
                  <a:pt x="114300" y="89789"/>
                </a:lnTo>
                <a:cubicBezTo>
                  <a:pt x="121158" y="87757"/>
                  <a:pt x="125222" y="85598"/>
                  <a:pt x="126492" y="83311"/>
                </a:cubicBezTo>
                <a:cubicBezTo>
                  <a:pt x="127761" y="81026"/>
                  <a:pt x="127635" y="76580"/>
                  <a:pt x="125857" y="69977"/>
                </a:cubicBezTo>
                <a:lnTo>
                  <a:pt x="128777" y="69215"/>
                </a:lnTo>
                <a:lnTo>
                  <a:pt x="141986" y="113919"/>
                </a:lnTo>
                <a:lnTo>
                  <a:pt x="139192" y="114680"/>
                </a:lnTo>
                <a:cubicBezTo>
                  <a:pt x="137033" y="108330"/>
                  <a:pt x="134874" y="104521"/>
                  <a:pt x="132461" y="103251"/>
                </a:cubicBezTo>
                <a:cubicBezTo>
                  <a:pt x="130048" y="102108"/>
                  <a:pt x="125476" y="102489"/>
                  <a:pt x="118617" y="104521"/>
                </a:cubicBezTo>
                <a:lnTo>
                  <a:pt x="52705" y="124079"/>
                </a:lnTo>
                <a:cubicBezTo>
                  <a:pt x="45847" y="126111"/>
                  <a:pt x="41783" y="128270"/>
                  <a:pt x="40513" y="130555"/>
                </a:cubicBezTo>
                <a:cubicBezTo>
                  <a:pt x="39116" y="132969"/>
                  <a:pt x="39370" y="137286"/>
                  <a:pt x="41020" y="143891"/>
                </a:cubicBezTo>
                <a:lnTo>
                  <a:pt x="38227" y="144653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28" name="Freeform 3"/>
          <p:cNvSpPr/>
          <p:nvPr/>
        </p:nvSpPr>
        <p:spPr>
          <a:xfrm>
            <a:off x="1778844" y="4416382"/>
            <a:ext cx="59494" cy="50161"/>
          </a:xfrm>
          <a:custGeom>
            <a:avLst/>
            <a:gdLst>
              <a:gd name="connsiteX0" fmla="*/ 6604 w 60706"/>
              <a:gd name="connsiteY0" fmla="*/ 35178 h 51180"/>
              <a:gd name="connsiteX1" fmla="*/ 10922 w 60706"/>
              <a:gd name="connsiteY1" fmla="*/ 44830 h 51180"/>
              <a:gd name="connsiteX2" fmla="*/ 54355 w 60706"/>
              <a:gd name="connsiteY2" fmla="*/ 33020 h 51180"/>
              <a:gd name="connsiteX3" fmla="*/ 53467 w 60706"/>
              <a:gd name="connsiteY3" fmla="*/ 25400 h 51180"/>
              <a:gd name="connsiteX4" fmla="*/ 52451 w 60706"/>
              <a:gd name="connsiteY4" fmla="*/ 19939 h 51180"/>
              <a:gd name="connsiteX5" fmla="*/ 42417 w 60706"/>
              <a:gd name="connsiteY5" fmla="*/ 7873 h 51180"/>
              <a:gd name="connsiteX6" fmla="*/ 24764 w 60706"/>
              <a:gd name="connsiteY6" fmla="*/ 6350 h 51180"/>
              <a:gd name="connsiteX7" fmla="*/ 12954 w 60706"/>
              <a:gd name="connsiteY7" fmla="*/ 12572 h 51180"/>
              <a:gd name="connsiteX8" fmla="*/ 6350 w 60706"/>
              <a:gd name="connsiteY8" fmla="*/ 22859 h 51180"/>
              <a:gd name="connsiteX9" fmla="*/ 6604 w 60706"/>
              <a:gd name="connsiteY9" fmla="*/ 35178 h 5118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</a:cxnLst>
            <a:rect l="l" t="t" r="r" b="b"/>
            <a:pathLst>
              <a:path w="60706" h="51180">
                <a:moveTo>
                  <a:pt x="6604" y="35178"/>
                </a:moveTo>
                <a:cubicBezTo>
                  <a:pt x="7366" y="37719"/>
                  <a:pt x="8763" y="41021"/>
                  <a:pt x="10922" y="44830"/>
                </a:cubicBezTo>
                <a:lnTo>
                  <a:pt x="54355" y="33020"/>
                </a:lnTo>
                <a:cubicBezTo>
                  <a:pt x="54101" y="30098"/>
                  <a:pt x="53848" y="27559"/>
                  <a:pt x="53467" y="25400"/>
                </a:cubicBezTo>
                <a:cubicBezTo>
                  <a:pt x="53213" y="23241"/>
                  <a:pt x="52832" y="21463"/>
                  <a:pt x="52451" y="19939"/>
                </a:cubicBezTo>
                <a:cubicBezTo>
                  <a:pt x="50926" y="14604"/>
                  <a:pt x="47625" y="10541"/>
                  <a:pt x="42417" y="7873"/>
                </a:cubicBezTo>
                <a:cubicBezTo>
                  <a:pt x="37211" y="5079"/>
                  <a:pt x="31369" y="4572"/>
                  <a:pt x="24764" y="6350"/>
                </a:cubicBezTo>
                <a:cubicBezTo>
                  <a:pt x="20320" y="7620"/>
                  <a:pt x="16383" y="9652"/>
                  <a:pt x="12954" y="12572"/>
                </a:cubicBezTo>
                <a:cubicBezTo>
                  <a:pt x="9525" y="15494"/>
                  <a:pt x="7366" y="18922"/>
                  <a:pt x="6350" y="22859"/>
                </a:cubicBezTo>
                <a:cubicBezTo>
                  <a:pt x="5333" y="26670"/>
                  <a:pt x="5461" y="30860"/>
                  <a:pt x="6604" y="35178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29" name="Freeform 3"/>
          <p:cNvSpPr/>
          <p:nvPr/>
        </p:nvSpPr>
        <p:spPr>
          <a:xfrm>
            <a:off x="1770382" y="4399578"/>
            <a:ext cx="128074" cy="98208"/>
          </a:xfrm>
          <a:custGeom>
            <a:avLst/>
            <a:gdLst>
              <a:gd name="connsiteX0" fmla="*/ 19938 w 130683"/>
              <a:gd name="connsiteY0" fmla="*/ 93853 h 100203"/>
              <a:gd name="connsiteX1" fmla="*/ 9525 w 130683"/>
              <a:gd name="connsiteY1" fmla="*/ 55498 h 100203"/>
              <a:gd name="connsiteX2" fmla="*/ 6350 w 130683"/>
              <a:gd name="connsiteY2" fmla="*/ 32639 h 100203"/>
              <a:gd name="connsiteX3" fmla="*/ 12319 w 130683"/>
              <a:gd name="connsiteY3" fmla="*/ 16383 h 100203"/>
              <a:gd name="connsiteX4" fmla="*/ 27050 w 130683"/>
              <a:gd name="connsiteY4" fmla="*/ 6350 h 100203"/>
              <a:gd name="connsiteX5" fmla="*/ 50164 w 130683"/>
              <a:gd name="connsiteY5" fmla="*/ 9144 h 100203"/>
              <a:gd name="connsiteX6" fmla="*/ 64769 w 130683"/>
              <a:gd name="connsiteY6" fmla="*/ 30861 h 100203"/>
              <a:gd name="connsiteX7" fmla="*/ 66420 w 130683"/>
              <a:gd name="connsiteY7" fmla="*/ 39116 h 100203"/>
              <a:gd name="connsiteX8" fmla="*/ 67309 w 130683"/>
              <a:gd name="connsiteY8" fmla="*/ 48895 h 100203"/>
              <a:gd name="connsiteX9" fmla="*/ 97789 w 130683"/>
              <a:gd name="connsiteY9" fmla="*/ 40640 h 100203"/>
              <a:gd name="connsiteX10" fmla="*/ 109473 w 130683"/>
              <a:gd name="connsiteY10" fmla="*/ 35179 h 100203"/>
              <a:gd name="connsiteX11" fmla="*/ 110362 w 130683"/>
              <a:gd name="connsiteY11" fmla="*/ 25400 h 100203"/>
              <a:gd name="connsiteX12" fmla="*/ 109347 w 130683"/>
              <a:gd name="connsiteY12" fmla="*/ 21336 h 100203"/>
              <a:gd name="connsiteX13" fmla="*/ 112141 w 130683"/>
              <a:gd name="connsiteY13" fmla="*/ 20573 h 100203"/>
              <a:gd name="connsiteX14" fmla="*/ 124332 w 130683"/>
              <a:gd name="connsiteY14" fmla="*/ 65404 h 100203"/>
              <a:gd name="connsiteX15" fmla="*/ 121538 w 130683"/>
              <a:gd name="connsiteY15" fmla="*/ 66167 h 100203"/>
              <a:gd name="connsiteX16" fmla="*/ 120395 w 130683"/>
              <a:gd name="connsiteY16" fmla="*/ 62229 h 100203"/>
              <a:gd name="connsiteX17" fmla="*/ 113537 w 130683"/>
              <a:gd name="connsiteY17" fmla="*/ 53848 h 100203"/>
              <a:gd name="connsiteX18" fmla="*/ 101726 w 130683"/>
              <a:gd name="connsiteY18" fmla="*/ 55498 h 100203"/>
              <a:gd name="connsiteX19" fmla="*/ 34289 w 130683"/>
              <a:gd name="connsiteY19" fmla="*/ 73786 h 100203"/>
              <a:gd name="connsiteX20" fmla="*/ 22605 w 130683"/>
              <a:gd name="connsiteY20" fmla="*/ 79248 h 100203"/>
              <a:gd name="connsiteX21" fmla="*/ 21716 w 130683"/>
              <a:gd name="connsiteY21" fmla="*/ 89154 h 100203"/>
              <a:gd name="connsiteX22" fmla="*/ 22732 w 130683"/>
              <a:gd name="connsiteY22" fmla="*/ 92964 h 100203"/>
              <a:gd name="connsiteX23" fmla="*/ 19938 w 130683"/>
              <a:gd name="connsiteY23" fmla="*/ 93853 h 10020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</a:cxnLst>
            <a:rect l="l" t="t" r="r" b="b"/>
            <a:pathLst>
              <a:path w="130683" h="100203">
                <a:moveTo>
                  <a:pt x="19938" y="93853"/>
                </a:moveTo>
                <a:lnTo>
                  <a:pt x="9525" y="55498"/>
                </a:lnTo>
                <a:cubicBezTo>
                  <a:pt x="6984" y="46228"/>
                  <a:pt x="5841" y="38608"/>
                  <a:pt x="6350" y="32639"/>
                </a:cubicBezTo>
                <a:cubicBezTo>
                  <a:pt x="6857" y="26670"/>
                  <a:pt x="8762" y="21336"/>
                  <a:pt x="12319" y="16383"/>
                </a:cubicBezTo>
                <a:cubicBezTo>
                  <a:pt x="15875" y="11429"/>
                  <a:pt x="20827" y="8128"/>
                  <a:pt x="27050" y="6350"/>
                </a:cubicBezTo>
                <a:cubicBezTo>
                  <a:pt x="35686" y="4064"/>
                  <a:pt x="43306" y="4953"/>
                  <a:pt x="50164" y="9144"/>
                </a:cubicBezTo>
                <a:cubicBezTo>
                  <a:pt x="57022" y="13335"/>
                  <a:pt x="61848" y="20573"/>
                  <a:pt x="64769" y="30861"/>
                </a:cubicBezTo>
                <a:cubicBezTo>
                  <a:pt x="65404" y="33273"/>
                  <a:pt x="65912" y="36067"/>
                  <a:pt x="66420" y="39116"/>
                </a:cubicBezTo>
                <a:cubicBezTo>
                  <a:pt x="66801" y="42164"/>
                  <a:pt x="67182" y="45466"/>
                  <a:pt x="67309" y="48895"/>
                </a:cubicBezTo>
                <a:lnTo>
                  <a:pt x="97789" y="40640"/>
                </a:lnTo>
                <a:cubicBezTo>
                  <a:pt x="104266" y="38861"/>
                  <a:pt x="108203" y="37084"/>
                  <a:pt x="109473" y="35179"/>
                </a:cubicBezTo>
                <a:cubicBezTo>
                  <a:pt x="111125" y="32639"/>
                  <a:pt x="111505" y="29336"/>
                  <a:pt x="110362" y="25400"/>
                </a:cubicBezTo>
                <a:lnTo>
                  <a:pt x="109347" y="21336"/>
                </a:lnTo>
                <a:lnTo>
                  <a:pt x="112141" y="20573"/>
                </a:lnTo>
                <a:lnTo>
                  <a:pt x="124332" y="65404"/>
                </a:lnTo>
                <a:lnTo>
                  <a:pt x="121538" y="66167"/>
                </a:lnTo>
                <a:lnTo>
                  <a:pt x="120395" y="62229"/>
                </a:lnTo>
                <a:cubicBezTo>
                  <a:pt x="119252" y="57785"/>
                  <a:pt x="116966" y="54991"/>
                  <a:pt x="113537" y="53848"/>
                </a:cubicBezTo>
                <a:cubicBezTo>
                  <a:pt x="111632" y="53340"/>
                  <a:pt x="107695" y="53848"/>
                  <a:pt x="101726" y="55498"/>
                </a:cubicBezTo>
                <a:lnTo>
                  <a:pt x="34289" y="73786"/>
                </a:lnTo>
                <a:cubicBezTo>
                  <a:pt x="27685" y="75565"/>
                  <a:pt x="23875" y="77470"/>
                  <a:pt x="22605" y="79248"/>
                </a:cubicBezTo>
                <a:cubicBezTo>
                  <a:pt x="20954" y="81915"/>
                  <a:pt x="20573" y="85090"/>
                  <a:pt x="21716" y="89154"/>
                </a:cubicBezTo>
                <a:lnTo>
                  <a:pt x="22732" y="92964"/>
                </a:lnTo>
                <a:lnTo>
                  <a:pt x="19938" y="93853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0" name="Freeform 3"/>
          <p:cNvSpPr/>
          <p:nvPr/>
        </p:nvSpPr>
        <p:spPr>
          <a:xfrm>
            <a:off x="1749348" y="4296641"/>
            <a:ext cx="109154" cy="79040"/>
          </a:xfrm>
          <a:custGeom>
            <a:avLst/>
            <a:gdLst>
              <a:gd name="connsiteX0" fmla="*/ 6350 w 111378"/>
              <a:gd name="connsiteY0" fmla="*/ 53213 h 80645"/>
              <a:gd name="connsiteX1" fmla="*/ 22479 w 111378"/>
              <a:gd name="connsiteY1" fmla="*/ 73152 h 80645"/>
              <a:gd name="connsiteX2" fmla="*/ 63245 w 111378"/>
              <a:gd name="connsiteY2" fmla="*/ 74295 h 80645"/>
              <a:gd name="connsiteX3" fmla="*/ 100075 w 111378"/>
              <a:gd name="connsiteY3" fmla="*/ 53340 h 80645"/>
              <a:gd name="connsiteX4" fmla="*/ 105029 w 111378"/>
              <a:gd name="connsiteY4" fmla="*/ 28447 h 80645"/>
              <a:gd name="connsiteX5" fmla="*/ 87375 w 111378"/>
              <a:gd name="connsiteY5" fmla="*/ 6858 h 80645"/>
              <a:gd name="connsiteX6" fmla="*/ 48513 w 111378"/>
              <a:gd name="connsiteY6" fmla="*/ 6350 h 80645"/>
              <a:gd name="connsiteX7" fmla="*/ 10922 w 111378"/>
              <a:gd name="connsiteY7" fmla="*/ 26923 h 80645"/>
              <a:gd name="connsiteX8" fmla="*/ 6350 w 111378"/>
              <a:gd name="connsiteY8" fmla="*/ 53213 h 8064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111378" h="80645">
                <a:moveTo>
                  <a:pt x="6350" y="53213"/>
                </a:moveTo>
                <a:cubicBezTo>
                  <a:pt x="8635" y="62610"/>
                  <a:pt x="14097" y="69215"/>
                  <a:pt x="22479" y="73152"/>
                </a:cubicBezTo>
                <a:cubicBezTo>
                  <a:pt x="32892" y="78104"/>
                  <a:pt x="46482" y="78485"/>
                  <a:pt x="63245" y="74295"/>
                </a:cubicBezTo>
                <a:cubicBezTo>
                  <a:pt x="80391" y="69977"/>
                  <a:pt x="92582" y="62991"/>
                  <a:pt x="100075" y="53340"/>
                </a:cubicBezTo>
                <a:cubicBezTo>
                  <a:pt x="105663" y="45973"/>
                  <a:pt x="107314" y="37719"/>
                  <a:pt x="105029" y="28447"/>
                </a:cubicBezTo>
                <a:cubicBezTo>
                  <a:pt x="102488" y="18541"/>
                  <a:pt x="96647" y="11429"/>
                  <a:pt x="87375" y="6858"/>
                </a:cubicBezTo>
                <a:cubicBezTo>
                  <a:pt x="77977" y="2413"/>
                  <a:pt x="65150" y="2158"/>
                  <a:pt x="48513" y="6350"/>
                </a:cubicBezTo>
                <a:cubicBezTo>
                  <a:pt x="30607" y="10795"/>
                  <a:pt x="18033" y="17652"/>
                  <a:pt x="10922" y="26923"/>
                </a:cubicBezTo>
                <a:cubicBezTo>
                  <a:pt x="5333" y="34416"/>
                  <a:pt x="3810" y="43179"/>
                  <a:pt x="6350" y="53213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1" name="Freeform 3"/>
          <p:cNvSpPr/>
          <p:nvPr/>
        </p:nvSpPr>
        <p:spPr>
          <a:xfrm>
            <a:off x="1743373" y="4279712"/>
            <a:ext cx="120481" cy="113269"/>
          </a:xfrm>
          <a:custGeom>
            <a:avLst/>
            <a:gdLst>
              <a:gd name="connsiteX0" fmla="*/ 6350 w 122935"/>
              <a:gd name="connsiteY0" fmla="*/ 70358 h 115570"/>
              <a:gd name="connsiteX1" fmla="*/ 13080 w 122935"/>
              <a:gd name="connsiteY1" fmla="*/ 31115 h 115570"/>
              <a:gd name="connsiteX2" fmla="*/ 48132 w 122935"/>
              <a:gd name="connsiteY2" fmla="*/ 6350 h 115570"/>
              <a:gd name="connsiteX3" fmla="*/ 91566 w 122935"/>
              <a:gd name="connsiteY3" fmla="*/ 11557 h 115570"/>
              <a:gd name="connsiteX4" fmla="*/ 116585 w 122935"/>
              <a:gd name="connsiteY4" fmla="*/ 44196 h 115570"/>
              <a:gd name="connsiteX5" fmla="*/ 110235 w 122935"/>
              <a:gd name="connsiteY5" fmla="*/ 84455 h 115570"/>
              <a:gd name="connsiteX6" fmla="*/ 74040 w 122935"/>
              <a:gd name="connsiteY6" fmla="*/ 109220 h 115570"/>
              <a:gd name="connsiteX7" fmla="*/ 28955 w 122935"/>
              <a:gd name="connsiteY7" fmla="*/ 102362 h 115570"/>
              <a:gd name="connsiteX8" fmla="*/ 6350 w 122935"/>
              <a:gd name="connsiteY8" fmla="*/ 70358 h 11557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122935" h="115570">
                <a:moveTo>
                  <a:pt x="6350" y="70358"/>
                </a:moveTo>
                <a:cubicBezTo>
                  <a:pt x="3047" y="56769"/>
                  <a:pt x="5206" y="43688"/>
                  <a:pt x="13080" y="31115"/>
                </a:cubicBezTo>
                <a:cubicBezTo>
                  <a:pt x="20954" y="18542"/>
                  <a:pt x="32638" y="10287"/>
                  <a:pt x="48132" y="6350"/>
                </a:cubicBezTo>
                <a:cubicBezTo>
                  <a:pt x="64007" y="2413"/>
                  <a:pt x="78612" y="4191"/>
                  <a:pt x="91566" y="11557"/>
                </a:cubicBezTo>
                <a:cubicBezTo>
                  <a:pt x="104647" y="19050"/>
                  <a:pt x="112902" y="29845"/>
                  <a:pt x="116585" y="44196"/>
                </a:cubicBezTo>
                <a:cubicBezTo>
                  <a:pt x="120141" y="58674"/>
                  <a:pt x="117982" y="72009"/>
                  <a:pt x="110235" y="84455"/>
                </a:cubicBezTo>
                <a:cubicBezTo>
                  <a:pt x="102361" y="96901"/>
                  <a:pt x="90296" y="105155"/>
                  <a:pt x="74040" y="109220"/>
                </a:cubicBezTo>
                <a:cubicBezTo>
                  <a:pt x="57403" y="113411"/>
                  <a:pt x="42290" y="111125"/>
                  <a:pt x="28955" y="102362"/>
                </a:cubicBezTo>
                <a:cubicBezTo>
                  <a:pt x="17398" y="94742"/>
                  <a:pt x="9778" y="84074"/>
                  <a:pt x="6350" y="70358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2" name="Freeform 3"/>
          <p:cNvSpPr/>
          <p:nvPr/>
        </p:nvSpPr>
        <p:spPr>
          <a:xfrm>
            <a:off x="1706656" y="4151755"/>
            <a:ext cx="140271" cy="143017"/>
          </a:xfrm>
          <a:custGeom>
            <a:avLst/>
            <a:gdLst>
              <a:gd name="connsiteX0" fmla="*/ 31242 w 143129"/>
              <a:gd name="connsiteY0" fmla="*/ 139573 h 145922"/>
              <a:gd name="connsiteX1" fmla="*/ 20827 w 143129"/>
              <a:gd name="connsiteY1" fmla="*/ 94107 h 145922"/>
              <a:gd name="connsiteX2" fmla="*/ 23749 w 143129"/>
              <a:gd name="connsiteY2" fmla="*/ 93472 h 145922"/>
              <a:gd name="connsiteX3" fmla="*/ 29718 w 143129"/>
              <a:gd name="connsiteY3" fmla="*/ 105283 h 145922"/>
              <a:gd name="connsiteX4" fmla="*/ 43561 w 143129"/>
              <a:gd name="connsiteY4" fmla="*/ 105029 h 145922"/>
              <a:gd name="connsiteX5" fmla="*/ 104394 w 143129"/>
              <a:gd name="connsiteY5" fmla="*/ 91313 h 145922"/>
              <a:gd name="connsiteX6" fmla="*/ 30733 w 143129"/>
              <a:gd name="connsiteY6" fmla="*/ 56515 h 145922"/>
              <a:gd name="connsiteX7" fmla="*/ 19304 w 143129"/>
              <a:gd name="connsiteY7" fmla="*/ 62230 h 145922"/>
              <a:gd name="connsiteX8" fmla="*/ 19685 w 143129"/>
              <a:gd name="connsiteY8" fmla="*/ 75311 h 145922"/>
              <a:gd name="connsiteX9" fmla="*/ 16764 w 143129"/>
              <a:gd name="connsiteY9" fmla="*/ 75946 h 145922"/>
              <a:gd name="connsiteX10" fmla="*/ 6350 w 143129"/>
              <a:gd name="connsiteY10" fmla="*/ 30226 h 145922"/>
              <a:gd name="connsiteX11" fmla="*/ 9271 w 143129"/>
              <a:gd name="connsiteY11" fmla="*/ 29591 h 145922"/>
              <a:gd name="connsiteX12" fmla="*/ 15240 w 143129"/>
              <a:gd name="connsiteY12" fmla="*/ 41402 h 145922"/>
              <a:gd name="connsiteX13" fmla="*/ 29083 w 143129"/>
              <a:gd name="connsiteY13" fmla="*/ 41148 h 145922"/>
              <a:gd name="connsiteX14" fmla="*/ 96139 w 143129"/>
              <a:gd name="connsiteY14" fmla="*/ 25908 h 145922"/>
              <a:gd name="connsiteX15" fmla="*/ 108839 w 143129"/>
              <a:gd name="connsiteY15" fmla="*/ 20193 h 145922"/>
              <a:gd name="connsiteX16" fmla="*/ 109093 w 143129"/>
              <a:gd name="connsiteY16" fmla="*/ 6985 h 145922"/>
              <a:gd name="connsiteX17" fmla="*/ 112014 w 143129"/>
              <a:gd name="connsiteY17" fmla="*/ 6350 h 145922"/>
              <a:gd name="connsiteX18" fmla="*/ 122301 w 143129"/>
              <a:gd name="connsiteY18" fmla="*/ 52070 h 145922"/>
              <a:gd name="connsiteX19" fmla="*/ 119507 w 143129"/>
              <a:gd name="connsiteY19" fmla="*/ 52705 h 145922"/>
              <a:gd name="connsiteX20" fmla="*/ 113411 w 143129"/>
              <a:gd name="connsiteY20" fmla="*/ 40640 h 145922"/>
              <a:gd name="connsiteX21" fmla="*/ 99568 w 143129"/>
              <a:gd name="connsiteY21" fmla="*/ 40894 h 145922"/>
              <a:gd name="connsiteX22" fmla="*/ 38989 w 143129"/>
              <a:gd name="connsiteY22" fmla="*/ 54610 h 145922"/>
              <a:gd name="connsiteX23" fmla="*/ 112902 w 143129"/>
              <a:gd name="connsiteY23" fmla="*/ 89408 h 145922"/>
              <a:gd name="connsiteX24" fmla="*/ 121666 w 143129"/>
              <a:gd name="connsiteY24" fmla="*/ 86360 h 145922"/>
              <a:gd name="connsiteX25" fmla="*/ 124460 w 143129"/>
              <a:gd name="connsiteY25" fmla="*/ 81788 h 145922"/>
              <a:gd name="connsiteX26" fmla="*/ 123571 w 143129"/>
              <a:gd name="connsiteY26" fmla="*/ 70739 h 145922"/>
              <a:gd name="connsiteX27" fmla="*/ 126492 w 143129"/>
              <a:gd name="connsiteY27" fmla="*/ 70104 h 145922"/>
              <a:gd name="connsiteX28" fmla="*/ 136779 w 143129"/>
              <a:gd name="connsiteY28" fmla="*/ 115697 h 145922"/>
              <a:gd name="connsiteX29" fmla="*/ 133858 w 143129"/>
              <a:gd name="connsiteY29" fmla="*/ 116332 h 145922"/>
              <a:gd name="connsiteX30" fmla="*/ 127889 w 143129"/>
              <a:gd name="connsiteY30" fmla="*/ 104521 h 145922"/>
              <a:gd name="connsiteX31" fmla="*/ 114046 w 143129"/>
              <a:gd name="connsiteY31" fmla="*/ 104775 h 145922"/>
              <a:gd name="connsiteX32" fmla="*/ 46990 w 143129"/>
              <a:gd name="connsiteY32" fmla="*/ 120015 h 145922"/>
              <a:gd name="connsiteX33" fmla="*/ 34290 w 143129"/>
              <a:gd name="connsiteY33" fmla="*/ 125730 h 145922"/>
              <a:gd name="connsiteX34" fmla="*/ 34036 w 143129"/>
              <a:gd name="connsiteY34" fmla="*/ 138938 h 145922"/>
              <a:gd name="connsiteX35" fmla="*/ 31242 w 143129"/>
              <a:gd name="connsiteY35" fmla="*/ 139573 h 145922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</a:cxnLst>
            <a:rect l="l" t="t" r="r" b="b"/>
            <a:pathLst>
              <a:path w="143129" h="145922">
                <a:moveTo>
                  <a:pt x="31242" y="139573"/>
                </a:moveTo>
                <a:lnTo>
                  <a:pt x="20827" y="94107"/>
                </a:lnTo>
                <a:lnTo>
                  <a:pt x="23749" y="93472"/>
                </a:lnTo>
                <a:cubicBezTo>
                  <a:pt x="25400" y="99949"/>
                  <a:pt x="27432" y="103886"/>
                  <a:pt x="29718" y="105283"/>
                </a:cubicBezTo>
                <a:cubicBezTo>
                  <a:pt x="32004" y="106680"/>
                  <a:pt x="36576" y="106680"/>
                  <a:pt x="43561" y="105029"/>
                </a:cubicBezTo>
                <a:lnTo>
                  <a:pt x="104394" y="91313"/>
                </a:lnTo>
                <a:lnTo>
                  <a:pt x="30733" y="56515"/>
                </a:lnTo>
                <a:cubicBezTo>
                  <a:pt x="24383" y="57911"/>
                  <a:pt x="20574" y="59817"/>
                  <a:pt x="19304" y="62230"/>
                </a:cubicBezTo>
                <a:cubicBezTo>
                  <a:pt x="18161" y="64770"/>
                  <a:pt x="18288" y="69088"/>
                  <a:pt x="19685" y="75311"/>
                </a:cubicBezTo>
                <a:lnTo>
                  <a:pt x="16764" y="75946"/>
                </a:lnTo>
                <a:lnTo>
                  <a:pt x="6350" y="30226"/>
                </a:lnTo>
                <a:lnTo>
                  <a:pt x="9271" y="29591"/>
                </a:lnTo>
                <a:cubicBezTo>
                  <a:pt x="10922" y="36068"/>
                  <a:pt x="12954" y="40005"/>
                  <a:pt x="15240" y="41402"/>
                </a:cubicBezTo>
                <a:cubicBezTo>
                  <a:pt x="17526" y="42799"/>
                  <a:pt x="22098" y="42672"/>
                  <a:pt x="29083" y="41148"/>
                </a:cubicBezTo>
                <a:lnTo>
                  <a:pt x="96139" y="25908"/>
                </a:lnTo>
                <a:cubicBezTo>
                  <a:pt x="103124" y="24384"/>
                  <a:pt x="107315" y="22479"/>
                  <a:pt x="108839" y="20193"/>
                </a:cubicBezTo>
                <a:cubicBezTo>
                  <a:pt x="110236" y="17907"/>
                  <a:pt x="110363" y="13589"/>
                  <a:pt x="109093" y="6985"/>
                </a:cubicBezTo>
                <a:lnTo>
                  <a:pt x="112014" y="6350"/>
                </a:lnTo>
                <a:lnTo>
                  <a:pt x="122301" y="52070"/>
                </a:lnTo>
                <a:lnTo>
                  <a:pt x="119507" y="52705"/>
                </a:lnTo>
                <a:cubicBezTo>
                  <a:pt x="117729" y="45974"/>
                  <a:pt x="115697" y="42036"/>
                  <a:pt x="113411" y="40640"/>
                </a:cubicBezTo>
                <a:cubicBezTo>
                  <a:pt x="111125" y="39243"/>
                  <a:pt x="106426" y="39370"/>
                  <a:pt x="99568" y="40894"/>
                </a:cubicBezTo>
                <a:lnTo>
                  <a:pt x="38989" y="54610"/>
                </a:lnTo>
                <a:lnTo>
                  <a:pt x="112902" y="89408"/>
                </a:lnTo>
                <a:cubicBezTo>
                  <a:pt x="117348" y="88265"/>
                  <a:pt x="120269" y="87249"/>
                  <a:pt x="121666" y="86360"/>
                </a:cubicBezTo>
                <a:cubicBezTo>
                  <a:pt x="123190" y="85471"/>
                  <a:pt x="124079" y="83947"/>
                  <a:pt x="124460" y="81788"/>
                </a:cubicBezTo>
                <a:cubicBezTo>
                  <a:pt x="124968" y="79502"/>
                  <a:pt x="124586" y="75946"/>
                  <a:pt x="123571" y="70739"/>
                </a:cubicBezTo>
                <a:lnTo>
                  <a:pt x="126492" y="70104"/>
                </a:lnTo>
                <a:lnTo>
                  <a:pt x="136779" y="115697"/>
                </a:lnTo>
                <a:lnTo>
                  <a:pt x="133858" y="116332"/>
                </a:lnTo>
                <a:cubicBezTo>
                  <a:pt x="132207" y="109855"/>
                  <a:pt x="130175" y="105918"/>
                  <a:pt x="127889" y="104521"/>
                </a:cubicBezTo>
                <a:cubicBezTo>
                  <a:pt x="125602" y="103124"/>
                  <a:pt x="121030" y="103251"/>
                  <a:pt x="114046" y="104775"/>
                </a:cubicBezTo>
                <a:lnTo>
                  <a:pt x="46990" y="120015"/>
                </a:lnTo>
                <a:cubicBezTo>
                  <a:pt x="40005" y="121539"/>
                  <a:pt x="35814" y="123444"/>
                  <a:pt x="34290" y="125730"/>
                </a:cubicBezTo>
                <a:cubicBezTo>
                  <a:pt x="32893" y="128016"/>
                  <a:pt x="32766" y="132334"/>
                  <a:pt x="34036" y="138938"/>
                </a:cubicBezTo>
                <a:lnTo>
                  <a:pt x="31242" y="139573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3" name="Freeform 3"/>
          <p:cNvSpPr/>
          <p:nvPr/>
        </p:nvSpPr>
        <p:spPr>
          <a:xfrm>
            <a:off x="1694956" y="4083172"/>
            <a:ext cx="121975" cy="93228"/>
          </a:xfrm>
          <a:custGeom>
            <a:avLst/>
            <a:gdLst>
              <a:gd name="connsiteX0" fmla="*/ 6350 w 124460"/>
              <a:gd name="connsiteY0" fmla="*/ 54482 h 95122"/>
              <a:gd name="connsiteX1" fmla="*/ 9906 w 124460"/>
              <a:gd name="connsiteY1" fmla="*/ 31750 h 95122"/>
              <a:gd name="connsiteX2" fmla="*/ 26670 w 124460"/>
              <a:gd name="connsiteY2" fmla="*/ 19938 h 95122"/>
              <a:gd name="connsiteX3" fmla="*/ 44323 w 124460"/>
              <a:gd name="connsiteY3" fmla="*/ 22478 h 95122"/>
              <a:gd name="connsiteX4" fmla="*/ 57785 w 124460"/>
              <a:gd name="connsiteY4" fmla="*/ 36321 h 95122"/>
              <a:gd name="connsiteX5" fmla="*/ 63881 w 124460"/>
              <a:gd name="connsiteY5" fmla="*/ 16890 h 95122"/>
              <a:gd name="connsiteX6" fmla="*/ 81026 w 124460"/>
              <a:gd name="connsiteY6" fmla="*/ 6350 h 95122"/>
              <a:gd name="connsiteX7" fmla="*/ 104521 w 124460"/>
              <a:gd name="connsiteY7" fmla="*/ 12064 h 95122"/>
              <a:gd name="connsiteX8" fmla="*/ 118110 w 124460"/>
              <a:gd name="connsiteY8" fmla="*/ 35559 h 95122"/>
              <a:gd name="connsiteX9" fmla="*/ 104013 w 124460"/>
              <a:gd name="connsiteY9" fmla="*/ 74802 h 95122"/>
              <a:gd name="connsiteX10" fmla="*/ 101727 w 124460"/>
              <a:gd name="connsiteY10" fmla="*/ 72516 h 95122"/>
              <a:gd name="connsiteX11" fmla="*/ 110490 w 124460"/>
              <a:gd name="connsiteY11" fmla="*/ 58546 h 95122"/>
              <a:gd name="connsiteX12" fmla="*/ 111887 w 124460"/>
              <a:gd name="connsiteY12" fmla="*/ 41275 h 95122"/>
              <a:gd name="connsiteX13" fmla="*/ 101600 w 124460"/>
              <a:gd name="connsiteY13" fmla="*/ 26542 h 95122"/>
              <a:gd name="connsiteX14" fmla="*/ 83439 w 124460"/>
              <a:gd name="connsiteY14" fmla="*/ 24383 h 95122"/>
              <a:gd name="connsiteX15" fmla="*/ 67564 w 124460"/>
              <a:gd name="connsiteY15" fmla="*/ 35305 h 95122"/>
              <a:gd name="connsiteX16" fmla="*/ 65405 w 124460"/>
              <a:gd name="connsiteY16" fmla="*/ 60832 h 95122"/>
              <a:gd name="connsiteX17" fmla="*/ 60325 w 124460"/>
              <a:gd name="connsiteY17" fmla="*/ 61848 h 95122"/>
              <a:gd name="connsiteX18" fmla="*/ 54102 w 124460"/>
              <a:gd name="connsiteY18" fmla="*/ 44576 h 95122"/>
              <a:gd name="connsiteX19" fmla="*/ 43942 w 124460"/>
              <a:gd name="connsiteY19" fmla="*/ 36448 h 95122"/>
              <a:gd name="connsiteX20" fmla="*/ 30099 w 124460"/>
              <a:gd name="connsiteY20" fmla="*/ 35432 h 95122"/>
              <a:gd name="connsiteX21" fmla="*/ 17018 w 124460"/>
              <a:gd name="connsiteY21" fmla="*/ 43560 h 95122"/>
              <a:gd name="connsiteX22" fmla="*/ 14605 w 124460"/>
              <a:gd name="connsiteY22" fmla="*/ 58927 h 95122"/>
              <a:gd name="connsiteX23" fmla="*/ 24765 w 124460"/>
              <a:gd name="connsiteY23" fmla="*/ 75057 h 95122"/>
              <a:gd name="connsiteX24" fmla="*/ 43942 w 124460"/>
              <a:gd name="connsiteY24" fmla="*/ 79628 h 95122"/>
              <a:gd name="connsiteX25" fmla="*/ 44450 w 124460"/>
              <a:gd name="connsiteY25" fmla="*/ 82422 h 95122"/>
              <a:gd name="connsiteX26" fmla="*/ 13716 w 124460"/>
              <a:gd name="connsiteY26" fmla="*/ 88772 h 95122"/>
              <a:gd name="connsiteX27" fmla="*/ 13081 w 124460"/>
              <a:gd name="connsiteY27" fmla="*/ 86105 h 95122"/>
              <a:gd name="connsiteX28" fmla="*/ 17018 w 124460"/>
              <a:gd name="connsiteY28" fmla="*/ 79247 h 95122"/>
              <a:gd name="connsiteX29" fmla="*/ 13462 w 124460"/>
              <a:gd name="connsiteY29" fmla="*/ 72263 h 95122"/>
              <a:gd name="connsiteX30" fmla="*/ 6350 w 124460"/>
              <a:gd name="connsiteY30" fmla="*/ 54482 h 95122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</a:cxnLst>
            <a:rect l="l" t="t" r="r" b="b"/>
            <a:pathLst>
              <a:path w="124460" h="95122">
                <a:moveTo>
                  <a:pt x="6350" y="54482"/>
                </a:moveTo>
                <a:cubicBezTo>
                  <a:pt x="4572" y="45720"/>
                  <a:pt x="5715" y="38100"/>
                  <a:pt x="9906" y="31750"/>
                </a:cubicBezTo>
                <a:cubicBezTo>
                  <a:pt x="13970" y="25272"/>
                  <a:pt x="19685" y="21335"/>
                  <a:pt x="26670" y="19938"/>
                </a:cubicBezTo>
                <a:cubicBezTo>
                  <a:pt x="33020" y="18541"/>
                  <a:pt x="38989" y="19430"/>
                  <a:pt x="44323" y="22478"/>
                </a:cubicBezTo>
                <a:cubicBezTo>
                  <a:pt x="49784" y="25526"/>
                  <a:pt x="54229" y="30226"/>
                  <a:pt x="57785" y="36321"/>
                </a:cubicBezTo>
                <a:cubicBezTo>
                  <a:pt x="57531" y="28828"/>
                  <a:pt x="59563" y="22351"/>
                  <a:pt x="63881" y="16890"/>
                </a:cubicBezTo>
                <a:cubicBezTo>
                  <a:pt x="68199" y="11302"/>
                  <a:pt x="73914" y="7873"/>
                  <a:pt x="81026" y="6350"/>
                </a:cubicBezTo>
                <a:cubicBezTo>
                  <a:pt x="89789" y="4571"/>
                  <a:pt x="97536" y="6476"/>
                  <a:pt x="104521" y="12064"/>
                </a:cubicBezTo>
                <a:cubicBezTo>
                  <a:pt x="111506" y="17652"/>
                  <a:pt x="115951" y="25526"/>
                  <a:pt x="118110" y="35559"/>
                </a:cubicBezTo>
                <a:cubicBezTo>
                  <a:pt x="121158" y="50545"/>
                  <a:pt x="116459" y="63626"/>
                  <a:pt x="104013" y="74802"/>
                </a:cubicBezTo>
                <a:lnTo>
                  <a:pt x="101727" y="72516"/>
                </a:lnTo>
                <a:cubicBezTo>
                  <a:pt x="105537" y="68960"/>
                  <a:pt x="108458" y="64261"/>
                  <a:pt x="110490" y="58546"/>
                </a:cubicBezTo>
                <a:cubicBezTo>
                  <a:pt x="112649" y="52958"/>
                  <a:pt x="113030" y="47116"/>
                  <a:pt x="111887" y="41275"/>
                </a:cubicBezTo>
                <a:cubicBezTo>
                  <a:pt x="110363" y="34416"/>
                  <a:pt x="106934" y="29463"/>
                  <a:pt x="101600" y="26542"/>
                </a:cubicBezTo>
                <a:cubicBezTo>
                  <a:pt x="96139" y="23748"/>
                  <a:pt x="90170" y="22986"/>
                  <a:pt x="83439" y="24383"/>
                </a:cubicBezTo>
                <a:cubicBezTo>
                  <a:pt x="76581" y="25780"/>
                  <a:pt x="71247" y="29463"/>
                  <a:pt x="67564" y="35305"/>
                </a:cubicBezTo>
                <a:cubicBezTo>
                  <a:pt x="63754" y="41147"/>
                  <a:pt x="63119" y="49657"/>
                  <a:pt x="65405" y="60832"/>
                </a:cubicBezTo>
                <a:lnTo>
                  <a:pt x="60325" y="61848"/>
                </a:lnTo>
                <a:cubicBezTo>
                  <a:pt x="58674" y="53975"/>
                  <a:pt x="56515" y="48132"/>
                  <a:pt x="54102" y="44576"/>
                </a:cubicBezTo>
                <a:cubicBezTo>
                  <a:pt x="51562" y="40894"/>
                  <a:pt x="48133" y="38226"/>
                  <a:pt x="43942" y="36448"/>
                </a:cubicBezTo>
                <a:cubicBezTo>
                  <a:pt x="39624" y="34670"/>
                  <a:pt x="35052" y="34416"/>
                  <a:pt x="30099" y="35432"/>
                </a:cubicBezTo>
                <a:cubicBezTo>
                  <a:pt x="24384" y="36576"/>
                  <a:pt x="19939" y="39370"/>
                  <a:pt x="17018" y="43560"/>
                </a:cubicBezTo>
                <a:cubicBezTo>
                  <a:pt x="14097" y="47878"/>
                  <a:pt x="13335" y="52958"/>
                  <a:pt x="14605" y="58927"/>
                </a:cubicBezTo>
                <a:cubicBezTo>
                  <a:pt x="16129" y="66420"/>
                  <a:pt x="19558" y="71754"/>
                  <a:pt x="24765" y="75057"/>
                </a:cubicBezTo>
                <a:cubicBezTo>
                  <a:pt x="30099" y="78358"/>
                  <a:pt x="36449" y="79882"/>
                  <a:pt x="43942" y="79628"/>
                </a:cubicBezTo>
                <a:lnTo>
                  <a:pt x="44450" y="82422"/>
                </a:lnTo>
                <a:lnTo>
                  <a:pt x="13716" y="88772"/>
                </a:lnTo>
                <a:lnTo>
                  <a:pt x="13081" y="86105"/>
                </a:lnTo>
                <a:cubicBezTo>
                  <a:pt x="16383" y="84582"/>
                  <a:pt x="17653" y="82295"/>
                  <a:pt x="17018" y="79247"/>
                </a:cubicBezTo>
                <a:cubicBezTo>
                  <a:pt x="16891" y="78104"/>
                  <a:pt x="15621" y="75819"/>
                  <a:pt x="13462" y="72263"/>
                </a:cubicBezTo>
                <a:cubicBezTo>
                  <a:pt x="10033" y="66801"/>
                  <a:pt x="7747" y="60959"/>
                  <a:pt x="6350" y="54482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4" name="Freeform 3"/>
          <p:cNvSpPr/>
          <p:nvPr/>
        </p:nvSpPr>
        <p:spPr>
          <a:xfrm>
            <a:off x="1733416" y="3998407"/>
            <a:ext cx="58747" cy="62982"/>
          </a:xfrm>
          <a:custGeom>
            <a:avLst/>
            <a:gdLst>
              <a:gd name="connsiteX0" fmla="*/ 6730 w 59944"/>
              <a:gd name="connsiteY0" fmla="*/ 44195 h 64261"/>
              <a:gd name="connsiteX1" fmla="*/ 8381 w 59944"/>
              <a:gd name="connsiteY1" fmla="*/ 52450 h 64261"/>
              <a:gd name="connsiteX2" fmla="*/ 10032 w 59944"/>
              <a:gd name="connsiteY2" fmla="*/ 57911 h 64261"/>
              <a:gd name="connsiteX3" fmla="*/ 53594 w 59944"/>
              <a:gd name="connsiteY3" fmla="*/ 49529 h 64261"/>
              <a:gd name="connsiteX4" fmla="*/ 52323 w 59944"/>
              <a:gd name="connsiteY4" fmla="*/ 31241 h 64261"/>
              <a:gd name="connsiteX5" fmla="*/ 41782 w 59944"/>
              <a:gd name="connsiteY5" fmla="*/ 10794 h 64261"/>
              <a:gd name="connsiteX6" fmla="*/ 24510 w 59944"/>
              <a:gd name="connsiteY6" fmla="*/ 6350 h 64261"/>
              <a:gd name="connsiteX7" fmla="*/ 13335 w 59944"/>
              <a:gd name="connsiteY7" fmla="*/ 12064 h 64261"/>
              <a:gd name="connsiteX8" fmla="*/ 6350 w 59944"/>
              <a:gd name="connsiteY8" fmla="*/ 24764 h 64261"/>
              <a:gd name="connsiteX9" fmla="*/ 6730 w 59944"/>
              <a:gd name="connsiteY9" fmla="*/ 44195 h 6426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</a:cxnLst>
            <a:rect l="l" t="t" r="r" b="b"/>
            <a:pathLst>
              <a:path w="59944" h="64261">
                <a:moveTo>
                  <a:pt x="6730" y="44195"/>
                </a:moveTo>
                <a:cubicBezTo>
                  <a:pt x="7366" y="47370"/>
                  <a:pt x="7873" y="50164"/>
                  <a:pt x="8381" y="52450"/>
                </a:cubicBezTo>
                <a:cubicBezTo>
                  <a:pt x="9016" y="54736"/>
                  <a:pt x="9525" y="56514"/>
                  <a:pt x="10032" y="57911"/>
                </a:cubicBezTo>
                <a:lnTo>
                  <a:pt x="53594" y="49529"/>
                </a:lnTo>
                <a:cubicBezTo>
                  <a:pt x="53847" y="43179"/>
                  <a:pt x="53466" y="37083"/>
                  <a:pt x="52323" y="31241"/>
                </a:cubicBezTo>
                <a:cubicBezTo>
                  <a:pt x="50545" y="21716"/>
                  <a:pt x="46989" y="14985"/>
                  <a:pt x="41782" y="10794"/>
                </a:cubicBezTo>
                <a:cubicBezTo>
                  <a:pt x="36575" y="6603"/>
                  <a:pt x="30860" y="5207"/>
                  <a:pt x="24510" y="6350"/>
                </a:cubicBezTo>
                <a:cubicBezTo>
                  <a:pt x="20447" y="7111"/>
                  <a:pt x="16636" y="9016"/>
                  <a:pt x="13335" y="12064"/>
                </a:cubicBezTo>
                <a:cubicBezTo>
                  <a:pt x="9905" y="14985"/>
                  <a:pt x="7619" y="19303"/>
                  <a:pt x="6350" y="24764"/>
                </a:cubicBezTo>
                <a:cubicBezTo>
                  <a:pt x="5206" y="30225"/>
                  <a:pt x="5206" y="36702"/>
                  <a:pt x="6730" y="44195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5" name="Freeform 3"/>
          <p:cNvSpPr/>
          <p:nvPr/>
        </p:nvSpPr>
        <p:spPr>
          <a:xfrm>
            <a:off x="1685621" y="4011102"/>
            <a:ext cx="56756" cy="59372"/>
          </a:xfrm>
          <a:custGeom>
            <a:avLst/>
            <a:gdLst>
              <a:gd name="connsiteX0" fmla="*/ 6350 w 57912"/>
              <a:gd name="connsiteY0" fmla="*/ 40385 h 60578"/>
              <a:gd name="connsiteX1" fmla="*/ 10795 w 57912"/>
              <a:gd name="connsiteY1" fmla="*/ 54228 h 60578"/>
              <a:gd name="connsiteX2" fmla="*/ 51562 w 57912"/>
              <a:gd name="connsiteY2" fmla="*/ 46354 h 60578"/>
              <a:gd name="connsiteX3" fmla="*/ 51181 w 57912"/>
              <a:gd name="connsiteY3" fmla="*/ 39623 h 60578"/>
              <a:gd name="connsiteX4" fmla="*/ 49911 w 57912"/>
              <a:gd name="connsiteY4" fmla="*/ 31369 h 60578"/>
              <a:gd name="connsiteX5" fmla="*/ 44069 w 57912"/>
              <a:gd name="connsiteY5" fmla="*/ 14604 h 60578"/>
              <a:gd name="connsiteX6" fmla="*/ 34798 w 57912"/>
              <a:gd name="connsiteY6" fmla="*/ 7239 h 60578"/>
              <a:gd name="connsiteX7" fmla="*/ 23114 w 57912"/>
              <a:gd name="connsiteY7" fmla="*/ 6350 h 60578"/>
              <a:gd name="connsiteX8" fmla="*/ 8636 w 57912"/>
              <a:gd name="connsiteY8" fmla="*/ 16890 h 60578"/>
              <a:gd name="connsiteX9" fmla="*/ 6350 w 57912"/>
              <a:gd name="connsiteY9" fmla="*/ 40385 h 6057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</a:cxnLst>
            <a:rect l="l" t="t" r="r" b="b"/>
            <a:pathLst>
              <a:path w="57912" h="60578">
                <a:moveTo>
                  <a:pt x="6350" y="40385"/>
                </a:moveTo>
                <a:cubicBezTo>
                  <a:pt x="7366" y="45592"/>
                  <a:pt x="8763" y="50165"/>
                  <a:pt x="10795" y="54228"/>
                </a:cubicBezTo>
                <a:lnTo>
                  <a:pt x="51562" y="46354"/>
                </a:lnTo>
                <a:cubicBezTo>
                  <a:pt x="51562" y="44322"/>
                  <a:pt x="51435" y="42036"/>
                  <a:pt x="51181" y="39623"/>
                </a:cubicBezTo>
                <a:cubicBezTo>
                  <a:pt x="50800" y="37084"/>
                  <a:pt x="50419" y="34290"/>
                  <a:pt x="49911" y="31369"/>
                </a:cubicBezTo>
                <a:cubicBezTo>
                  <a:pt x="48387" y="23748"/>
                  <a:pt x="46482" y="18160"/>
                  <a:pt x="44069" y="14604"/>
                </a:cubicBezTo>
                <a:cubicBezTo>
                  <a:pt x="41656" y="11048"/>
                  <a:pt x="38608" y="8635"/>
                  <a:pt x="34798" y="7239"/>
                </a:cubicBezTo>
                <a:cubicBezTo>
                  <a:pt x="30988" y="5841"/>
                  <a:pt x="27178" y="5460"/>
                  <a:pt x="23114" y="6350"/>
                </a:cubicBezTo>
                <a:cubicBezTo>
                  <a:pt x="16891" y="7492"/>
                  <a:pt x="12065" y="11048"/>
                  <a:pt x="8636" y="16890"/>
                </a:cubicBezTo>
                <a:cubicBezTo>
                  <a:pt x="5207" y="22859"/>
                  <a:pt x="4445" y="30734"/>
                  <a:pt x="6350" y="40385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6" name="Freeform 3"/>
          <p:cNvSpPr/>
          <p:nvPr/>
        </p:nvSpPr>
        <p:spPr>
          <a:xfrm>
            <a:off x="1678154" y="3980856"/>
            <a:ext cx="127326" cy="120737"/>
          </a:xfrm>
          <a:custGeom>
            <a:avLst/>
            <a:gdLst>
              <a:gd name="connsiteX0" fmla="*/ 17272 w 129920"/>
              <a:gd name="connsiteY0" fmla="*/ 116839 h 123189"/>
              <a:gd name="connsiteX1" fmla="*/ 8382 w 129920"/>
              <a:gd name="connsiteY1" fmla="*/ 70865 h 123189"/>
              <a:gd name="connsiteX2" fmla="*/ 6350 w 129920"/>
              <a:gd name="connsiteY2" fmla="*/ 49910 h 123189"/>
              <a:gd name="connsiteX3" fmla="*/ 12954 w 129920"/>
              <a:gd name="connsiteY3" fmla="*/ 29971 h 123189"/>
              <a:gd name="connsiteX4" fmla="*/ 28194 w 129920"/>
              <a:gd name="connsiteY4" fmla="*/ 20701 h 123189"/>
              <a:gd name="connsiteX5" fmla="*/ 43433 w 129920"/>
              <a:gd name="connsiteY5" fmla="*/ 22732 h 123189"/>
              <a:gd name="connsiteX6" fmla="*/ 55626 w 129920"/>
              <a:gd name="connsiteY6" fmla="*/ 35305 h 123189"/>
              <a:gd name="connsiteX7" fmla="*/ 59944 w 129920"/>
              <a:gd name="connsiteY7" fmla="*/ 17398 h 123189"/>
              <a:gd name="connsiteX8" fmla="*/ 76073 w 129920"/>
              <a:gd name="connsiteY8" fmla="*/ 6350 h 123189"/>
              <a:gd name="connsiteX9" fmla="*/ 92201 w 129920"/>
              <a:gd name="connsiteY9" fmla="*/ 8508 h 123189"/>
              <a:gd name="connsiteX10" fmla="*/ 105536 w 129920"/>
              <a:gd name="connsiteY10" fmla="*/ 20192 h 123189"/>
              <a:gd name="connsiteX11" fmla="*/ 113919 w 129920"/>
              <a:gd name="connsiteY11" fmla="*/ 46227 h 123189"/>
              <a:gd name="connsiteX12" fmla="*/ 123570 w 129920"/>
              <a:gd name="connsiteY12" fmla="*/ 96392 h 123189"/>
              <a:gd name="connsiteX13" fmla="*/ 120650 w 129920"/>
              <a:gd name="connsiteY13" fmla="*/ 97027 h 123189"/>
              <a:gd name="connsiteX14" fmla="*/ 119888 w 129920"/>
              <a:gd name="connsiteY14" fmla="*/ 92964 h 123189"/>
              <a:gd name="connsiteX15" fmla="*/ 113791 w 129920"/>
              <a:gd name="connsiteY15" fmla="*/ 84201 h 123189"/>
              <a:gd name="connsiteX16" fmla="*/ 101726 w 129920"/>
              <a:gd name="connsiteY16" fmla="*/ 84708 h 123189"/>
              <a:gd name="connsiteX17" fmla="*/ 33147 w 129920"/>
              <a:gd name="connsiteY17" fmla="*/ 97789 h 123189"/>
              <a:gd name="connsiteX18" fmla="*/ 21082 w 129920"/>
              <a:gd name="connsiteY18" fmla="*/ 102489 h 123189"/>
              <a:gd name="connsiteX19" fmla="*/ 19304 w 129920"/>
              <a:gd name="connsiteY19" fmla="*/ 112267 h 123189"/>
              <a:gd name="connsiteX20" fmla="*/ 20066 w 129920"/>
              <a:gd name="connsiteY20" fmla="*/ 116204 h 123189"/>
              <a:gd name="connsiteX21" fmla="*/ 17272 w 129920"/>
              <a:gd name="connsiteY21" fmla="*/ 116839 h 12318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</a:cxnLst>
            <a:rect l="l" t="t" r="r" b="b"/>
            <a:pathLst>
              <a:path w="129920" h="123189">
                <a:moveTo>
                  <a:pt x="17272" y="116839"/>
                </a:moveTo>
                <a:lnTo>
                  <a:pt x="8382" y="70865"/>
                </a:lnTo>
                <a:cubicBezTo>
                  <a:pt x="6730" y="62229"/>
                  <a:pt x="6095" y="55245"/>
                  <a:pt x="6350" y="49910"/>
                </a:cubicBezTo>
                <a:cubicBezTo>
                  <a:pt x="6730" y="41655"/>
                  <a:pt x="8889" y="35051"/>
                  <a:pt x="12954" y="29971"/>
                </a:cubicBezTo>
                <a:cubicBezTo>
                  <a:pt x="16891" y="25019"/>
                  <a:pt x="21970" y="21844"/>
                  <a:pt x="28194" y="20701"/>
                </a:cubicBezTo>
                <a:cubicBezTo>
                  <a:pt x="33527" y="19684"/>
                  <a:pt x="38607" y="20320"/>
                  <a:pt x="43433" y="22732"/>
                </a:cubicBezTo>
                <a:cubicBezTo>
                  <a:pt x="48260" y="25145"/>
                  <a:pt x="52323" y="29336"/>
                  <a:pt x="55626" y="35305"/>
                </a:cubicBezTo>
                <a:cubicBezTo>
                  <a:pt x="55752" y="27685"/>
                  <a:pt x="57150" y="21716"/>
                  <a:pt x="59944" y="17398"/>
                </a:cubicBezTo>
                <a:cubicBezTo>
                  <a:pt x="63754" y="11302"/>
                  <a:pt x="69214" y="7746"/>
                  <a:pt x="76073" y="6350"/>
                </a:cubicBezTo>
                <a:cubicBezTo>
                  <a:pt x="81407" y="5333"/>
                  <a:pt x="86741" y="6095"/>
                  <a:pt x="92201" y="8508"/>
                </a:cubicBezTo>
                <a:cubicBezTo>
                  <a:pt x="97789" y="10921"/>
                  <a:pt x="102107" y="14732"/>
                  <a:pt x="105536" y="20192"/>
                </a:cubicBezTo>
                <a:cubicBezTo>
                  <a:pt x="108838" y="25653"/>
                  <a:pt x="111632" y="34289"/>
                  <a:pt x="113919" y="46227"/>
                </a:cubicBezTo>
                <a:lnTo>
                  <a:pt x="123570" y="96392"/>
                </a:lnTo>
                <a:lnTo>
                  <a:pt x="120650" y="97027"/>
                </a:lnTo>
                <a:lnTo>
                  <a:pt x="119888" y="92964"/>
                </a:lnTo>
                <a:cubicBezTo>
                  <a:pt x="118998" y="88519"/>
                  <a:pt x="116966" y="85597"/>
                  <a:pt x="113791" y="84201"/>
                </a:cubicBezTo>
                <a:cubicBezTo>
                  <a:pt x="111760" y="83439"/>
                  <a:pt x="107695" y="83565"/>
                  <a:pt x="101726" y="84708"/>
                </a:cubicBezTo>
                <a:lnTo>
                  <a:pt x="33147" y="97789"/>
                </a:lnTo>
                <a:cubicBezTo>
                  <a:pt x="26542" y="99059"/>
                  <a:pt x="22479" y="100583"/>
                  <a:pt x="21082" y="102489"/>
                </a:cubicBezTo>
                <a:cubicBezTo>
                  <a:pt x="19176" y="105028"/>
                  <a:pt x="18541" y="108203"/>
                  <a:pt x="19304" y="112267"/>
                </a:cubicBezTo>
                <a:lnTo>
                  <a:pt x="20066" y="116204"/>
                </a:lnTo>
                <a:lnTo>
                  <a:pt x="17272" y="116839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7" name="Freeform 3"/>
          <p:cNvSpPr/>
          <p:nvPr/>
        </p:nvSpPr>
        <p:spPr>
          <a:xfrm>
            <a:off x="1662471" y="3885884"/>
            <a:ext cx="110648" cy="79911"/>
          </a:xfrm>
          <a:custGeom>
            <a:avLst/>
            <a:gdLst>
              <a:gd name="connsiteX0" fmla="*/ 6350 w 112902"/>
              <a:gd name="connsiteY0" fmla="*/ 50038 h 81534"/>
              <a:gd name="connsiteX1" fmla="*/ 20954 w 112902"/>
              <a:gd name="connsiteY1" fmla="*/ 71120 h 81534"/>
              <a:gd name="connsiteX2" fmla="*/ 61467 w 112902"/>
              <a:gd name="connsiteY2" fmla="*/ 75183 h 81534"/>
              <a:gd name="connsiteX3" fmla="*/ 99694 w 112902"/>
              <a:gd name="connsiteY3" fmla="*/ 57022 h 81534"/>
              <a:gd name="connsiteX4" fmla="*/ 106552 w 112902"/>
              <a:gd name="connsiteY4" fmla="*/ 32511 h 81534"/>
              <a:gd name="connsiteX5" fmla="*/ 90550 w 112902"/>
              <a:gd name="connsiteY5" fmla="*/ 9778 h 81534"/>
              <a:gd name="connsiteX6" fmla="*/ 51815 w 112902"/>
              <a:gd name="connsiteY6" fmla="*/ 6350 h 81534"/>
              <a:gd name="connsiteX7" fmla="*/ 12826 w 112902"/>
              <a:gd name="connsiteY7" fmla="*/ 24257 h 81534"/>
              <a:gd name="connsiteX8" fmla="*/ 6350 w 112902"/>
              <a:gd name="connsiteY8" fmla="*/ 50038 h 8153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112902" h="81534">
                <a:moveTo>
                  <a:pt x="6350" y="50038"/>
                </a:moveTo>
                <a:cubicBezTo>
                  <a:pt x="8000" y="59563"/>
                  <a:pt x="12826" y="66547"/>
                  <a:pt x="20954" y="71120"/>
                </a:cubicBezTo>
                <a:cubicBezTo>
                  <a:pt x="30987" y="76708"/>
                  <a:pt x="44450" y="78104"/>
                  <a:pt x="61467" y="75183"/>
                </a:cubicBezTo>
                <a:cubicBezTo>
                  <a:pt x="78866" y="72135"/>
                  <a:pt x="91693" y="66166"/>
                  <a:pt x="99694" y="57022"/>
                </a:cubicBezTo>
                <a:cubicBezTo>
                  <a:pt x="105917" y="50038"/>
                  <a:pt x="108203" y="41909"/>
                  <a:pt x="106552" y="32511"/>
                </a:cubicBezTo>
                <a:cubicBezTo>
                  <a:pt x="104775" y="22478"/>
                  <a:pt x="99440" y="14985"/>
                  <a:pt x="90550" y="9778"/>
                </a:cubicBezTo>
                <a:cubicBezTo>
                  <a:pt x="81533" y="4571"/>
                  <a:pt x="68706" y="3428"/>
                  <a:pt x="51815" y="6350"/>
                </a:cubicBezTo>
                <a:cubicBezTo>
                  <a:pt x="33527" y="9525"/>
                  <a:pt x="20573" y="15494"/>
                  <a:pt x="12826" y="24257"/>
                </a:cubicBezTo>
                <a:cubicBezTo>
                  <a:pt x="6730" y="31241"/>
                  <a:pt x="4571" y="39751"/>
                  <a:pt x="6350" y="50038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8" name="Freeform 3"/>
          <p:cNvSpPr/>
          <p:nvPr/>
        </p:nvSpPr>
        <p:spPr>
          <a:xfrm>
            <a:off x="1656621" y="3868581"/>
            <a:ext cx="121975" cy="114763"/>
          </a:xfrm>
          <a:custGeom>
            <a:avLst/>
            <a:gdLst>
              <a:gd name="connsiteX0" fmla="*/ 6350 w 124460"/>
              <a:gd name="connsiteY0" fmla="*/ 67183 h 117094"/>
              <a:gd name="connsiteX1" fmla="*/ 15875 w 124460"/>
              <a:gd name="connsiteY1" fmla="*/ 28448 h 117094"/>
              <a:gd name="connsiteX2" fmla="*/ 52577 w 124460"/>
              <a:gd name="connsiteY2" fmla="*/ 6350 h 117094"/>
              <a:gd name="connsiteX3" fmla="*/ 95630 w 124460"/>
              <a:gd name="connsiteY3" fmla="*/ 14732 h 117094"/>
              <a:gd name="connsiteX4" fmla="*/ 118109 w 124460"/>
              <a:gd name="connsiteY4" fmla="*/ 49022 h 117094"/>
              <a:gd name="connsiteX5" fmla="*/ 108838 w 124460"/>
              <a:gd name="connsiteY5" fmla="*/ 88773 h 117094"/>
              <a:gd name="connsiteX6" fmla="*/ 70865 w 124460"/>
              <a:gd name="connsiteY6" fmla="*/ 110744 h 117094"/>
              <a:gd name="connsiteX7" fmla="*/ 26415 w 124460"/>
              <a:gd name="connsiteY7" fmla="*/ 100711 h 117094"/>
              <a:gd name="connsiteX8" fmla="*/ 6350 w 124460"/>
              <a:gd name="connsiteY8" fmla="*/ 67183 h 11709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124460" h="117094">
                <a:moveTo>
                  <a:pt x="6350" y="67183"/>
                </a:moveTo>
                <a:cubicBezTo>
                  <a:pt x="3936" y="53340"/>
                  <a:pt x="7111" y="40386"/>
                  <a:pt x="15875" y="28448"/>
                </a:cubicBezTo>
                <a:cubicBezTo>
                  <a:pt x="24637" y="16383"/>
                  <a:pt x="36829" y="9144"/>
                  <a:pt x="52577" y="6350"/>
                </a:cubicBezTo>
                <a:cubicBezTo>
                  <a:pt x="68706" y="3555"/>
                  <a:pt x="83057" y="6350"/>
                  <a:pt x="95630" y="14732"/>
                </a:cubicBezTo>
                <a:cubicBezTo>
                  <a:pt x="108076" y="23114"/>
                  <a:pt x="115569" y="34544"/>
                  <a:pt x="118109" y="49022"/>
                </a:cubicBezTo>
                <a:cubicBezTo>
                  <a:pt x="120650" y="63754"/>
                  <a:pt x="117475" y="76961"/>
                  <a:pt x="108838" y="88773"/>
                </a:cubicBezTo>
                <a:cubicBezTo>
                  <a:pt x="100075" y="100584"/>
                  <a:pt x="87502" y="107950"/>
                  <a:pt x="70865" y="110744"/>
                </a:cubicBezTo>
                <a:cubicBezTo>
                  <a:pt x="53975" y="113665"/>
                  <a:pt x="39115" y="110363"/>
                  <a:pt x="26415" y="100711"/>
                </a:cubicBezTo>
                <a:cubicBezTo>
                  <a:pt x="15366" y="92202"/>
                  <a:pt x="8762" y="81026"/>
                  <a:pt x="6350" y="67183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39" name="Freeform 3"/>
          <p:cNvSpPr/>
          <p:nvPr/>
        </p:nvSpPr>
        <p:spPr>
          <a:xfrm>
            <a:off x="1644299" y="3789419"/>
            <a:ext cx="114133" cy="63480"/>
          </a:xfrm>
          <a:custGeom>
            <a:avLst/>
            <a:gdLst>
              <a:gd name="connsiteX0" fmla="*/ 11429 w 116458"/>
              <a:gd name="connsiteY0" fmla="*/ 50927 h 64769"/>
              <a:gd name="connsiteX1" fmla="*/ 78232 w 116458"/>
              <a:gd name="connsiteY1" fmla="*/ 48259 h 64769"/>
              <a:gd name="connsiteX2" fmla="*/ 110108 w 116458"/>
              <a:gd name="connsiteY2" fmla="*/ 58420 h 64769"/>
              <a:gd name="connsiteX3" fmla="*/ 104013 w 116458"/>
              <a:gd name="connsiteY3" fmla="*/ 18922 h 64769"/>
              <a:gd name="connsiteX4" fmla="*/ 100202 w 116458"/>
              <a:gd name="connsiteY4" fmla="*/ 6477 h 64769"/>
              <a:gd name="connsiteX5" fmla="*/ 87757 w 116458"/>
              <a:gd name="connsiteY5" fmla="*/ 6350 h 64769"/>
              <a:gd name="connsiteX6" fmla="*/ 6350 w 116458"/>
              <a:gd name="connsiteY6" fmla="*/ 18922 h 64769"/>
              <a:gd name="connsiteX7" fmla="*/ 11429 w 116458"/>
              <a:gd name="connsiteY7" fmla="*/ 50927 h 6476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116458" h="64769">
                <a:moveTo>
                  <a:pt x="11429" y="50927"/>
                </a:moveTo>
                <a:cubicBezTo>
                  <a:pt x="42798" y="47371"/>
                  <a:pt x="65023" y="46482"/>
                  <a:pt x="78232" y="48259"/>
                </a:cubicBezTo>
                <a:cubicBezTo>
                  <a:pt x="91313" y="50038"/>
                  <a:pt x="101980" y="53340"/>
                  <a:pt x="110108" y="58420"/>
                </a:cubicBezTo>
                <a:lnTo>
                  <a:pt x="104013" y="18922"/>
                </a:lnTo>
                <a:cubicBezTo>
                  <a:pt x="102870" y="11810"/>
                  <a:pt x="101600" y="7746"/>
                  <a:pt x="100202" y="6477"/>
                </a:cubicBezTo>
                <a:cubicBezTo>
                  <a:pt x="98679" y="5333"/>
                  <a:pt x="94614" y="5207"/>
                  <a:pt x="87757" y="6350"/>
                </a:cubicBezTo>
                <a:lnTo>
                  <a:pt x="6350" y="18922"/>
                </a:lnTo>
                <a:lnTo>
                  <a:pt x="11429" y="50927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40" name="Freeform 3"/>
          <p:cNvSpPr/>
          <p:nvPr/>
        </p:nvSpPr>
        <p:spPr>
          <a:xfrm>
            <a:off x="1633968" y="3752450"/>
            <a:ext cx="163422" cy="119991"/>
          </a:xfrm>
          <a:custGeom>
            <a:avLst/>
            <a:gdLst>
              <a:gd name="connsiteX0" fmla="*/ 20066 w 166751"/>
              <a:gd name="connsiteY0" fmla="*/ 115315 h 122428"/>
              <a:gd name="connsiteX1" fmla="*/ 6350 w 166751"/>
              <a:gd name="connsiteY1" fmla="*/ 27051 h 122428"/>
              <a:gd name="connsiteX2" fmla="*/ 9270 w 166751"/>
              <a:gd name="connsiteY2" fmla="*/ 26542 h 122428"/>
              <a:gd name="connsiteX3" fmla="*/ 14351 w 166751"/>
              <a:gd name="connsiteY3" fmla="*/ 38734 h 122428"/>
              <a:gd name="connsiteX4" fmla="*/ 28194 w 166751"/>
              <a:gd name="connsiteY4" fmla="*/ 39496 h 122428"/>
              <a:gd name="connsiteX5" fmla="*/ 87502 w 166751"/>
              <a:gd name="connsiteY5" fmla="*/ 30226 h 122428"/>
              <a:gd name="connsiteX6" fmla="*/ 108458 w 166751"/>
              <a:gd name="connsiteY6" fmla="*/ 25019 h 122428"/>
              <a:gd name="connsiteX7" fmla="*/ 110489 w 166751"/>
              <a:gd name="connsiteY7" fmla="*/ 11557 h 122428"/>
              <a:gd name="connsiteX8" fmla="*/ 144145 w 166751"/>
              <a:gd name="connsiteY8" fmla="*/ 6350 h 122428"/>
              <a:gd name="connsiteX9" fmla="*/ 144652 w 166751"/>
              <a:gd name="connsiteY9" fmla="*/ 9016 h 122428"/>
              <a:gd name="connsiteX10" fmla="*/ 127000 w 166751"/>
              <a:gd name="connsiteY10" fmla="*/ 19558 h 122428"/>
              <a:gd name="connsiteX11" fmla="*/ 119252 w 166751"/>
              <a:gd name="connsiteY11" fmla="*/ 33020 h 122428"/>
              <a:gd name="connsiteX12" fmla="*/ 119379 w 166751"/>
              <a:gd name="connsiteY12" fmla="*/ 49276 h 122428"/>
              <a:gd name="connsiteX13" fmla="*/ 123570 w 166751"/>
              <a:gd name="connsiteY13" fmla="*/ 76580 h 122428"/>
              <a:gd name="connsiteX14" fmla="*/ 137414 w 166751"/>
              <a:gd name="connsiteY14" fmla="*/ 101346 h 122428"/>
              <a:gd name="connsiteX15" fmla="*/ 160020 w 166751"/>
              <a:gd name="connsiteY15" fmla="*/ 108203 h 122428"/>
              <a:gd name="connsiteX16" fmla="*/ 160401 w 166751"/>
              <a:gd name="connsiteY16" fmla="*/ 110871 h 122428"/>
              <a:gd name="connsiteX17" fmla="*/ 126745 w 166751"/>
              <a:gd name="connsiteY17" fmla="*/ 116077 h 122428"/>
              <a:gd name="connsiteX18" fmla="*/ 108330 w 166751"/>
              <a:gd name="connsiteY18" fmla="*/ 97790 h 122428"/>
              <a:gd name="connsiteX19" fmla="*/ 71882 w 166751"/>
              <a:gd name="connsiteY19" fmla="*/ 92202 h 122428"/>
              <a:gd name="connsiteX20" fmla="*/ 37719 w 166751"/>
              <a:gd name="connsiteY20" fmla="*/ 94360 h 122428"/>
              <a:gd name="connsiteX21" fmla="*/ 26416 w 166751"/>
              <a:gd name="connsiteY21" fmla="*/ 98044 h 122428"/>
              <a:gd name="connsiteX22" fmla="*/ 22479 w 166751"/>
              <a:gd name="connsiteY22" fmla="*/ 103504 h 122428"/>
              <a:gd name="connsiteX23" fmla="*/ 22986 w 166751"/>
              <a:gd name="connsiteY23" fmla="*/ 114808 h 122428"/>
              <a:gd name="connsiteX24" fmla="*/ 20066 w 166751"/>
              <a:gd name="connsiteY24" fmla="*/ 115315 h 12242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</a:cxnLst>
            <a:rect l="l" t="t" r="r" b="b"/>
            <a:pathLst>
              <a:path w="166751" h="122428">
                <a:moveTo>
                  <a:pt x="20066" y="115315"/>
                </a:moveTo>
                <a:lnTo>
                  <a:pt x="6350" y="27051"/>
                </a:lnTo>
                <a:lnTo>
                  <a:pt x="9270" y="26542"/>
                </a:lnTo>
                <a:cubicBezTo>
                  <a:pt x="10541" y="33146"/>
                  <a:pt x="12192" y="37210"/>
                  <a:pt x="14351" y="38734"/>
                </a:cubicBezTo>
                <a:cubicBezTo>
                  <a:pt x="16636" y="40385"/>
                  <a:pt x="21208" y="40513"/>
                  <a:pt x="28194" y="39496"/>
                </a:cubicBezTo>
                <a:lnTo>
                  <a:pt x="87502" y="30226"/>
                </a:lnTo>
                <a:cubicBezTo>
                  <a:pt x="98933" y="28447"/>
                  <a:pt x="105917" y="26670"/>
                  <a:pt x="108458" y="25019"/>
                </a:cubicBezTo>
                <a:cubicBezTo>
                  <a:pt x="110998" y="23240"/>
                  <a:pt x="111633" y="18796"/>
                  <a:pt x="110489" y="11557"/>
                </a:cubicBezTo>
                <a:lnTo>
                  <a:pt x="144145" y="6350"/>
                </a:lnTo>
                <a:lnTo>
                  <a:pt x="144652" y="9016"/>
                </a:lnTo>
                <a:cubicBezTo>
                  <a:pt x="137033" y="11810"/>
                  <a:pt x="131191" y="15366"/>
                  <a:pt x="127000" y="19558"/>
                </a:cubicBezTo>
                <a:cubicBezTo>
                  <a:pt x="122808" y="23748"/>
                  <a:pt x="120269" y="28321"/>
                  <a:pt x="119252" y="33020"/>
                </a:cubicBezTo>
                <a:cubicBezTo>
                  <a:pt x="118364" y="37591"/>
                  <a:pt x="118364" y="43052"/>
                  <a:pt x="119379" y="49276"/>
                </a:cubicBezTo>
                <a:lnTo>
                  <a:pt x="123570" y="76580"/>
                </a:lnTo>
                <a:cubicBezTo>
                  <a:pt x="125476" y="88519"/>
                  <a:pt x="130048" y="96773"/>
                  <a:pt x="137414" y="101346"/>
                </a:cubicBezTo>
                <a:cubicBezTo>
                  <a:pt x="144779" y="106045"/>
                  <a:pt x="152273" y="108203"/>
                  <a:pt x="160020" y="108203"/>
                </a:cubicBezTo>
                <a:lnTo>
                  <a:pt x="160401" y="110871"/>
                </a:lnTo>
                <a:lnTo>
                  <a:pt x="126745" y="116077"/>
                </a:lnTo>
                <a:cubicBezTo>
                  <a:pt x="124714" y="107696"/>
                  <a:pt x="118617" y="101600"/>
                  <a:pt x="108330" y="97790"/>
                </a:cubicBezTo>
                <a:cubicBezTo>
                  <a:pt x="98044" y="93979"/>
                  <a:pt x="85979" y="92075"/>
                  <a:pt x="71882" y="92202"/>
                </a:cubicBezTo>
                <a:cubicBezTo>
                  <a:pt x="57911" y="92202"/>
                  <a:pt x="46482" y="92964"/>
                  <a:pt x="37719" y="94360"/>
                </a:cubicBezTo>
                <a:cubicBezTo>
                  <a:pt x="32511" y="95122"/>
                  <a:pt x="28701" y="96392"/>
                  <a:pt x="26416" y="98044"/>
                </a:cubicBezTo>
                <a:cubicBezTo>
                  <a:pt x="24129" y="99821"/>
                  <a:pt x="22860" y="101600"/>
                  <a:pt x="22479" y="103504"/>
                </a:cubicBezTo>
                <a:cubicBezTo>
                  <a:pt x="22225" y="105409"/>
                  <a:pt x="22351" y="109220"/>
                  <a:pt x="22986" y="114808"/>
                </a:cubicBezTo>
                <a:lnTo>
                  <a:pt x="20066" y="115315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41" name="Freeform 3"/>
          <p:cNvSpPr/>
          <p:nvPr/>
        </p:nvSpPr>
        <p:spPr>
          <a:xfrm>
            <a:off x="1618038" y="3642665"/>
            <a:ext cx="132429" cy="135799"/>
          </a:xfrm>
          <a:custGeom>
            <a:avLst/>
            <a:gdLst>
              <a:gd name="connsiteX0" fmla="*/ 21589 w 135127"/>
              <a:gd name="connsiteY0" fmla="*/ 132207 h 138557"/>
              <a:gd name="connsiteX1" fmla="*/ 15239 w 135127"/>
              <a:gd name="connsiteY1" fmla="*/ 85979 h 138557"/>
              <a:gd name="connsiteX2" fmla="*/ 18160 w 135127"/>
              <a:gd name="connsiteY2" fmla="*/ 85471 h 138557"/>
              <a:gd name="connsiteX3" fmla="*/ 23114 w 135127"/>
              <a:gd name="connsiteY3" fmla="*/ 97916 h 138557"/>
              <a:gd name="connsiteX4" fmla="*/ 36957 w 135127"/>
              <a:gd name="connsiteY4" fmla="*/ 98805 h 138557"/>
              <a:gd name="connsiteX5" fmla="*/ 98679 w 135127"/>
              <a:gd name="connsiteY5" fmla="*/ 90297 h 138557"/>
              <a:gd name="connsiteX6" fmla="*/ 28194 w 135127"/>
              <a:gd name="connsiteY6" fmla="*/ 49276 h 138557"/>
              <a:gd name="connsiteX7" fmla="*/ 16510 w 135127"/>
              <a:gd name="connsiteY7" fmla="*/ 54102 h 138557"/>
              <a:gd name="connsiteX8" fmla="*/ 15620 w 135127"/>
              <a:gd name="connsiteY8" fmla="*/ 67055 h 138557"/>
              <a:gd name="connsiteX9" fmla="*/ 12700 w 135127"/>
              <a:gd name="connsiteY9" fmla="*/ 67436 h 138557"/>
              <a:gd name="connsiteX10" fmla="*/ 6350 w 135127"/>
              <a:gd name="connsiteY10" fmla="*/ 21082 h 138557"/>
              <a:gd name="connsiteX11" fmla="*/ 9270 w 135127"/>
              <a:gd name="connsiteY11" fmla="*/ 20701 h 138557"/>
              <a:gd name="connsiteX12" fmla="*/ 14223 w 135127"/>
              <a:gd name="connsiteY12" fmla="*/ 33020 h 138557"/>
              <a:gd name="connsiteX13" fmla="*/ 27939 w 135127"/>
              <a:gd name="connsiteY13" fmla="*/ 33909 h 138557"/>
              <a:gd name="connsiteX14" fmla="*/ 96139 w 135127"/>
              <a:gd name="connsiteY14" fmla="*/ 24510 h 138557"/>
              <a:gd name="connsiteX15" fmla="*/ 109220 w 135127"/>
              <a:gd name="connsiteY15" fmla="*/ 19939 h 138557"/>
              <a:gd name="connsiteX16" fmla="*/ 110617 w 135127"/>
              <a:gd name="connsiteY16" fmla="*/ 6730 h 138557"/>
              <a:gd name="connsiteX17" fmla="*/ 113538 w 135127"/>
              <a:gd name="connsiteY17" fmla="*/ 6350 h 138557"/>
              <a:gd name="connsiteX18" fmla="*/ 119888 w 135127"/>
              <a:gd name="connsiteY18" fmla="*/ 52832 h 138557"/>
              <a:gd name="connsiteX19" fmla="*/ 116967 w 135127"/>
              <a:gd name="connsiteY19" fmla="*/ 53213 h 138557"/>
              <a:gd name="connsiteX20" fmla="*/ 112014 w 135127"/>
              <a:gd name="connsiteY20" fmla="*/ 40640 h 138557"/>
              <a:gd name="connsiteX21" fmla="*/ 98298 w 135127"/>
              <a:gd name="connsiteY21" fmla="*/ 39751 h 138557"/>
              <a:gd name="connsiteX22" fmla="*/ 36702 w 135127"/>
              <a:gd name="connsiteY22" fmla="*/ 48133 h 138557"/>
              <a:gd name="connsiteX23" fmla="*/ 107314 w 135127"/>
              <a:gd name="connsiteY23" fmla="*/ 89154 h 138557"/>
              <a:gd name="connsiteX24" fmla="*/ 116332 w 135127"/>
              <a:gd name="connsiteY24" fmla="*/ 86995 h 138557"/>
              <a:gd name="connsiteX25" fmla="*/ 119507 w 135127"/>
              <a:gd name="connsiteY25" fmla="*/ 82550 h 138557"/>
              <a:gd name="connsiteX26" fmla="*/ 119507 w 135127"/>
              <a:gd name="connsiteY26" fmla="*/ 71628 h 138557"/>
              <a:gd name="connsiteX27" fmla="*/ 122427 w 135127"/>
              <a:gd name="connsiteY27" fmla="*/ 71247 h 138557"/>
              <a:gd name="connsiteX28" fmla="*/ 128777 w 135127"/>
              <a:gd name="connsiteY28" fmla="*/ 117475 h 138557"/>
              <a:gd name="connsiteX29" fmla="*/ 125857 w 135127"/>
              <a:gd name="connsiteY29" fmla="*/ 117855 h 138557"/>
              <a:gd name="connsiteX30" fmla="*/ 121030 w 135127"/>
              <a:gd name="connsiteY30" fmla="*/ 105536 h 138557"/>
              <a:gd name="connsiteX31" fmla="*/ 107188 w 135127"/>
              <a:gd name="connsiteY31" fmla="*/ 104648 h 138557"/>
              <a:gd name="connsiteX32" fmla="*/ 38989 w 135127"/>
              <a:gd name="connsiteY32" fmla="*/ 114046 h 138557"/>
              <a:gd name="connsiteX33" fmla="*/ 25907 w 135127"/>
              <a:gd name="connsiteY33" fmla="*/ 118617 h 138557"/>
              <a:gd name="connsiteX34" fmla="*/ 24510 w 135127"/>
              <a:gd name="connsiteY34" fmla="*/ 131826 h 138557"/>
              <a:gd name="connsiteX35" fmla="*/ 21589 w 135127"/>
              <a:gd name="connsiteY35" fmla="*/ 132207 h 13855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</a:cxnLst>
            <a:rect l="l" t="t" r="r" b="b"/>
            <a:pathLst>
              <a:path w="135127" h="138557">
                <a:moveTo>
                  <a:pt x="21589" y="132207"/>
                </a:moveTo>
                <a:lnTo>
                  <a:pt x="15239" y="85979"/>
                </a:lnTo>
                <a:lnTo>
                  <a:pt x="18160" y="85471"/>
                </a:lnTo>
                <a:cubicBezTo>
                  <a:pt x="19304" y="92202"/>
                  <a:pt x="20954" y="96266"/>
                  <a:pt x="23114" y="97916"/>
                </a:cubicBezTo>
                <a:cubicBezTo>
                  <a:pt x="25273" y="99441"/>
                  <a:pt x="29845" y="99822"/>
                  <a:pt x="36957" y="98805"/>
                </a:cubicBezTo>
                <a:lnTo>
                  <a:pt x="98679" y="90297"/>
                </a:lnTo>
                <a:lnTo>
                  <a:pt x="28194" y="49276"/>
                </a:lnTo>
                <a:cubicBezTo>
                  <a:pt x="21844" y="50165"/>
                  <a:pt x="17907" y="51816"/>
                  <a:pt x="16510" y="54102"/>
                </a:cubicBezTo>
                <a:cubicBezTo>
                  <a:pt x="14985" y="56388"/>
                  <a:pt x="14732" y="60833"/>
                  <a:pt x="15620" y="67055"/>
                </a:cubicBezTo>
                <a:lnTo>
                  <a:pt x="12700" y="67436"/>
                </a:lnTo>
                <a:lnTo>
                  <a:pt x="6350" y="21082"/>
                </a:lnTo>
                <a:lnTo>
                  <a:pt x="9270" y="20701"/>
                </a:lnTo>
                <a:cubicBezTo>
                  <a:pt x="10414" y="27304"/>
                  <a:pt x="12064" y="31369"/>
                  <a:pt x="14223" y="33020"/>
                </a:cubicBezTo>
                <a:cubicBezTo>
                  <a:pt x="16255" y="34544"/>
                  <a:pt x="20954" y="34925"/>
                  <a:pt x="27939" y="33909"/>
                </a:cubicBezTo>
                <a:lnTo>
                  <a:pt x="96139" y="24510"/>
                </a:lnTo>
                <a:cubicBezTo>
                  <a:pt x="103251" y="23622"/>
                  <a:pt x="107569" y="21971"/>
                  <a:pt x="109220" y="19939"/>
                </a:cubicBezTo>
                <a:cubicBezTo>
                  <a:pt x="110870" y="17779"/>
                  <a:pt x="111379" y="13461"/>
                  <a:pt x="110617" y="6730"/>
                </a:cubicBezTo>
                <a:lnTo>
                  <a:pt x="113538" y="6350"/>
                </a:lnTo>
                <a:lnTo>
                  <a:pt x="119888" y="52832"/>
                </a:lnTo>
                <a:lnTo>
                  <a:pt x="116967" y="53213"/>
                </a:lnTo>
                <a:cubicBezTo>
                  <a:pt x="115823" y="46354"/>
                  <a:pt x="114173" y="42291"/>
                  <a:pt x="112014" y="40640"/>
                </a:cubicBezTo>
                <a:cubicBezTo>
                  <a:pt x="109854" y="39116"/>
                  <a:pt x="105282" y="38735"/>
                  <a:pt x="98298" y="39751"/>
                </a:cubicBezTo>
                <a:lnTo>
                  <a:pt x="36702" y="48133"/>
                </a:lnTo>
                <a:lnTo>
                  <a:pt x="107314" y="89154"/>
                </a:lnTo>
                <a:cubicBezTo>
                  <a:pt x="111886" y="88519"/>
                  <a:pt x="114935" y="87757"/>
                  <a:pt x="116332" y="86995"/>
                </a:cubicBezTo>
                <a:cubicBezTo>
                  <a:pt x="117855" y="86233"/>
                  <a:pt x="118872" y="84709"/>
                  <a:pt x="119507" y="82550"/>
                </a:cubicBezTo>
                <a:cubicBezTo>
                  <a:pt x="120142" y="80391"/>
                  <a:pt x="120142" y="76835"/>
                  <a:pt x="119507" y="71628"/>
                </a:cubicBezTo>
                <a:lnTo>
                  <a:pt x="122427" y="71247"/>
                </a:lnTo>
                <a:lnTo>
                  <a:pt x="128777" y="117475"/>
                </a:lnTo>
                <a:lnTo>
                  <a:pt x="125857" y="117855"/>
                </a:lnTo>
                <a:cubicBezTo>
                  <a:pt x="124714" y="111252"/>
                  <a:pt x="123189" y="107188"/>
                  <a:pt x="121030" y="105536"/>
                </a:cubicBezTo>
                <a:cubicBezTo>
                  <a:pt x="118872" y="104013"/>
                  <a:pt x="114173" y="103632"/>
                  <a:pt x="107188" y="104648"/>
                </a:cubicBezTo>
                <a:lnTo>
                  <a:pt x="38989" y="114046"/>
                </a:lnTo>
                <a:cubicBezTo>
                  <a:pt x="31876" y="114935"/>
                  <a:pt x="27558" y="116459"/>
                  <a:pt x="25907" y="118617"/>
                </a:cubicBezTo>
                <a:cubicBezTo>
                  <a:pt x="24257" y="120777"/>
                  <a:pt x="23748" y="125095"/>
                  <a:pt x="24510" y="131826"/>
                </a:cubicBezTo>
                <a:lnTo>
                  <a:pt x="21589" y="132207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42" name="Freeform 3"/>
          <p:cNvSpPr/>
          <p:nvPr/>
        </p:nvSpPr>
        <p:spPr>
          <a:xfrm>
            <a:off x="1606463" y="3557153"/>
            <a:ext cx="125708" cy="102565"/>
          </a:xfrm>
          <a:custGeom>
            <a:avLst/>
            <a:gdLst>
              <a:gd name="connsiteX0" fmla="*/ 16890 w 128269"/>
              <a:gd name="connsiteY0" fmla="*/ 98297 h 104648"/>
              <a:gd name="connsiteX1" fmla="*/ 6350 w 128269"/>
              <a:gd name="connsiteY1" fmla="*/ 10540 h 104648"/>
              <a:gd name="connsiteX2" fmla="*/ 31368 w 128269"/>
              <a:gd name="connsiteY2" fmla="*/ 6350 h 104648"/>
              <a:gd name="connsiteX3" fmla="*/ 31750 w 128269"/>
              <a:gd name="connsiteY3" fmla="*/ 9271 h 104648"/>
              <a:gd name="connsiteX4" fmla="*/ 22605 w 128269"/>
              <a:gd name="connsiteY4" fmla="*/ 12827 h 104648"/>
              <a:gd name="connsiteX5" fmla="*/ 16636 w 128269"/>
              <a:gd name="connsiteY5" fmla="*/ 20192 h 104648"/>
              <a:gd name="connsiteX6" fmla="*/ 15747 w 128269"/>
              <a:gd name="connsiteY6" fmla="*/ 31241 h 104648"/>
              <a:gd name="connsiteX7" fmla="*/ 17525 w 128269"/>
              <a:gd name="connsiteY7" fmla="*/ 46354 h 104648"/>
              <a:gd name="connsiteX8" fmla="*/ 99567 w 128269"/>
              <a:gd name="connsiteY8" fmla="*/ 36448 h 104648"/>
              <a:gd name="connsiteX9" fmla="*/ 111759 w 128269"/>
              <a:gd name="connsiteY9" fmla="*/ 32765 h 104648"/>
              <a:gd name="connsiteX10" fmla="*/ 113918 w 128269"/>
              <a:gd name="connsiteY10" fmla="*/ 23114 h 104648"/>
              <a:gd name="connsiteX11" fmla="*/ 113537 w 128269"/>
              <a:gd name="connsiteY11" fmla="*/ 19430 h 104648"/>
              <a:gd name="connsiteX12" fmla="*/ 116458 w 128269"/>
              <a:gd name="connsiteY12" fmla="*/ 19050 h 104648"/>
              <a:gd name="connsiteX13" fmla="*/ 121919 w 128269"/>
              <a:gd name="connsiteY13" fmla="*/ 64642 h 104648"/>
              <a:gd name="connsiteX14" fmla="*/ 118998 w 128269"/>
              <a:gd name="connsiteY14" fmla="*/ 65023 h 104648"/>
              <a:gd name="connsiteX15" fmla="*/ 118490 w 128269"/>
              <a:gd name="connsiteY15" fmla="*/ 61214 h 104648"/>
              <a:gd name="connsiteX16" fmla="*/ 113283 w 128269"/>
              <a:gd name="connsiteY16" fmla="*/ 52070 h 104648"/>
              <a:gd name="connsiteX17" fmla="*/ 101472 w 128269"/>
              <a:gd name="connsiteY17" fmla="*/ 51689 h 104648"/>
              <a:gd name="connsiteX18" fmla="*/ 19303 w 128269"/>
              <a:gd name="connsiteY18" fmla="*/ 61595 h 104648"/>
              <a:gd name="connsiteX19" fmla="*/ 20954 w 128269"/>
              <a:gd name="connsiteY19" fmla="*/ 74422 h 104648"/>
              <a:gd name="connsiteX20" fmla="*/ 23240 w 128269"/>
              <a:gd name="connsiteY20" fmla="*/ 85090 h 104648"/>
              <a:gd name="connsiteX21" fmla="*/ 29971 w 128269"/>
              <a:gd name="connsiteY21" fmla="*/ 91440 h 104648"/>
              <a:gd name="connsiteX22" fmla="*/ 41909 w 128269"/>
              <a:gd name="connsiteY22" fmla="*/ 93472 h 104648"/>
              <a:gd name="connsiteX23" fmla="*/ 42290 w 128269"/>
              <a:gd name="connsiteY23" fmla="*/ 96520 h 104648"/>
              <a:gd name="connsiteX24" fmla="*/ 16890 w 128269"/>
              <a:gd name="connsiteY24" fmla="*/ 98297 h 10464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</a:cxnLst>
            <a:rect l="l" t="t" r="r" b="b"/>
            <a:pathLst>
              <a:path w="128269" h="104648">
                <a:moveTo>
                  <a:pt x="16890" y="98297"/>
                </a:moveTo>
                <a:lnTo>
                  <a:pt x="6350" y="10540"/>
                </a:lnTo>
                <a:lnTo>
                  <a:pt x="31368" y="6350"/>
                </a:lnTo>
                <a:lnTo>
                  <a:pt x="31750" y="9271"/>
                </a:lnTo>
                <a:cubicBezTo>
                  <a:pt x="27431" y="10414"/>
                  <a:pt x="24383" y="11557"/>
                  <a:pt x="22605" y="12827"/>
                </a:cubicBezTo>
                <a:cubicBezTo>
                  <a:pt x="19684" y="14859"/>
                  <a:pt x="17652" y="17272"/>
                  <a:pt x="16636" y="20192"/>
                </a:cubicBezTo>
                <a:cubicBezTo>
                  <a:pt x="15493" y="23114"/>
                  <a:pt x="15112" y="26797"/>
                  <a:pt x="15747" y="31241"/>
                </a:cubicBezTo>
                <a:lnTo>
                  <a:pt x="17525" y="46354"/>
                </a:lnTo>
                <a:lnTo>
                  <a:pt x="99567" y="36448"/>
                </a:lnTo>
                <a:cubicBezTo>
                  <a:pt x="106171" y="35686"/>
                  <a:pt x="110235" y="34416"/>
                  <a:pt x="111759" y="32765"/>
                </a:cubicBezTo>
                <a:cubicBezTo>
                  <a:pt x="113664" y="30607"/>
                  <a:pt x="114426" y="27304"/>
                  <a:pt x="113918" y="23114"/>
                </a:cubicBezTo>
                <a:lnTo>
                  <a:pt x="113537" y="19430"/>
                </a:lnTo>
                <a:lnTo>
                  <a:pt x="116458" y="19050"/>
                </a:lnTo>
                <a:lnTo>
                  <a:pt x="121919" y="64642"/>
                </a:lnTo>
                <a:lnTo>
                  <a:pt x="118998" y="65023"/>
                </a:lnTo>
                <a:lnTo>
                  <a:pt x="118490" y="61214"/>
                </a:lnTo>
                <a:cubicBezTo>
                  <a:pt x="117982" y="56641"/>
                  <a:pt x="116204" y="53594"/>
                  <a:pt x="113283" y="52070"/>
                </a:cubicBezTo>
                <a:cubicBezTo>
                  <a:pt x="111378" y="51053"/>
                  <a:pt x="107441" y="50927"/>
                  <a:pt x="101472" y="51689"/>
                </a:cubicBezTo>
                <a:lnTo>
                  <a:pt x="19303" y="61595"/>
                </a:lnTo>
                <a:lnTo>
                  <a:pt x="20954" y="74422"/>
                </a:lnTo>
                <a:cubicBezTo>
                  <a:pt x="21462" y="79502"/>
                  <a:pt x="22351" y="83058"/>
                  <a:pt x="23240" y="85090"/>
                </a:cubicBezTo>
                <a:cubicBezTo>
                  <a:pt x="24637" y="87629"/>
                  <a:pt x="26796" y="89789"/>
                  <a:pt x="29971" y="91440"/>
                </a:cubicBezTo>
                <a:cubicBezTo>
                  <a:pt x="33019" y="92964"/>
                  <a:pt x="36956" y="93726"/>
                  <a:pt x="41909" y="93472"/>
                </a:cubicBezTo>
                <a:lnTo>
                  <a:pt x="42290" y="96520"/>
                </a:lnTo>
                <a:lnTo>
                  <a:pt x="16890" y="98297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43" name="Freeform 3"/>
          <p:cNvSpPr/>
          <p:nvPr/>
        </p:nvSpPr>
        <p:spPr>
          <a:xfrm>
            <a:off x="1596754" y="3452598"/>
            <a:ext cx="126580" cy="111152"/>
          </a:xfrm>
          <a:custGeom>
            <a:avLst/>
            <a:gdLst>
              <a:gd name="connsiteX0" fmla="*/ 15113 w 129159"/>
              <a:gd name="connsiteY0" fmla="*/ 107060 h 113410"/>
              <a:gd name="connsiteX1" fmla="*/ 6350 w 129159"/>
              <a:gd name="connsiteY1" fmla="*/ 24129 h 113410"/>
              <a:gd name="connsiteX2" fmla="*/ 29845 w 129159"/>
              <a:gd name="connsiteY2" fmla="*/ 20446 h 113410"/>
              <a:gd name="connsiteX3" fmla="*/ 30099 w 129159"/>
              <a:gd name="connsiteY3" fmla="*/ 23495 h 113410"/>
              <a:gd name="connsiteX4" fmla="*/ 18923 w 129159"/>
              <a:gd name="connsiteY4" fmla="*/ 28447 h 113410"/>
              <a:gd name="connsiteX5" fmla="*/ 14605 w 129159"/>
              <a:gd name="connsiteY5" fmla="*/ 34925 h 113410"/>
              <a:gd name="connsiteX6" fmla="*/ 14605 w 129159"/>
              <a:gd name="connsiteY6" fmla="*/ 46227 h 113410"/>
              <a:gd name="connsiteX7" fmla="*/ 17780 w 129159"/>
              <a:gd name="connsiteY7" fmla="*/ 75819 h 113410"/>
              <a:gd name="connsiteX8" fmla="*/ 60325 w 129159"/>
              <a:gd name="connsiteY8" fmla="*/ 71373 h 113410"/>
              <a:gd name="connsiteX9" fmla="*/ 57785 w 129159"/>
              <a:gd name="connsiteY9" fmla="*/ 47752 h 113410"/>
              <a:gd name="connsiteX10" fmla="*/ 53721 w 129159"/>
              <a:gd name="connsiteY10" fmla="*/ 35686 h 113410"/>
              <a:gd name="connsiteX11" fmla="*/ 40386 w 129159"/>
              <a:gd name="connsiteY11" fmla="*/ 32384 h 113410"/>
              <a:gd name="connsiteX12" fmla="*/ 40132 w 129159"/>
              <a:gd name="connsiteY12" fmla="*/ 29464 h 113410"/>
              <a:gd name="connsiteX13" fmla="*/ 77597 w 129159"/>
              <a:gd name="connsiteY13" fmla="*/ 25527 h 113410"/>
              <a:gd name="connsiteX14" fmla="*/ 77851 w 129159"/>
              <a:gd name="connsiteY14" fmla="*/ 28447 h 113410"/>
              <a:gd name="connsiteX15" fmla="*/ 68072 w 129159"/>
              <a:gd name="connsiteY15" fmla="*/ 31750 h 113410"/>
              <a:gd name="connsiteX16" fmla="*/ 64135 w 129159"/>
              <a:gd name="connsiteY16" fmla="*/ 36957 h 113410"/>
              <a:gd name="connsiteX17" fmla="*/ 63627 w 129159"/>
              <a:gd name="connsiteY17" fmla="*/ 47116 h 113410"/>
              <a:gd name="connsiteX18" fmla="*/ 66167 w 129159"/>
              <a:gd name="connsiteY18" fmla="*/ 70739 h 113410"/>
              <a:gd name="connsiteX19" fmla="*/ 101600 w 129159"/>
              <a:gd name="connsiteY19" fmla="*/ 67055 h 113410"/>
              <a:gd name="connsiteX20" fmla="*/ 110236 w 129159"/>
              <a:gd name="connsiteY20" fmla="*/ 65404 h 113410"/>
              <a:gd name="connsiteX21" fmla="*/ 112395 w 129159"/>
              <a:gd name="connsiteY21" fmla="*/ 62991 h 113410"/>
              <a:gd name="connsiteX22" fmla="*/ 112776 w 129159"/>
              <a:gd name="connsiteY22" fmla="*/ 56895 h 113410"/>
              <a:gd name="connsiteX23" fmla="*/ 110744 w 129159"/>
              <a:gd name="connsiteY23" fmla="*/ 38608 h 113410"/>
              <a:gd name="connsiteX24" fmla="*/ 108077 w 129159"/>
              <a:gd name="connsiteY24" fmla="*/ 25400 h 113410"/>
              <a:gd name="connsiteX25" fmla="*/ 102362 w 129159"/>
              <a:gd name="connsiteY25" fmla="*/ 18033 h 113410"/>
              <a:gd name="connsiteX26" fmla="*/ 86360 w 129159"/>
              <a:gd name="connsiteY26" fmla="*/ 9525 h 113410"/>
              <a:gd name="connsiteX27" fmla="*/ 86106 w 129159"/>
              <a:gd name="connsiteY27" fmla="*/ 6350 h 113410"/>
              <a:gd name="connsiteX28" fmla="*/ 114046 w 129159"/>
              <a:gd name="connsiteY28" fmla="*/ 12827 h 113410"/>
              <a:gd name="connsiteX29" fmla="*/ 122809 w 129159"/>
              <a:gd name="connsiteY29" fmla="*/ 95758 h 113410"/>
              <a:gd name="connsiteX30" fmla="*/ 119761 w 129159"/>
              <a:gd name="connsiteY30" fmla="*/ 96011 h 113410"/>
              <a:gd name="connsiteX31" fmla="*/ 119380 w 129159"/>
              <a:gd name="connsiteY31" fmla="*/ 92202 h 113410"/>
              <a:gd name="connsiteX32" fmla="*/ 116840 w 129159"/>
              <a:gd name="connsiteY32" fmla="*/ 85216 h 113410"/>
              <a:gd name="connsiteX33" fmla="*/ 112649 w 129159"/>
              <a:gd name="connsiteY33" fmla="*/ 82169 h 113410"/>
              <a:gd name="connsiteX34" fmla="*/ 102108 w 129159"/>
              <a:gd name="connsiteY34" fmla="*/ 82295 h 113410"/>
              <a:gd name="connsiteX35" fmla="*/ 32258 w 129159"/>
              <a:gd name="connsiteY35" fmla="*/ 89661 h 113410"/>
              <a:gd name="connsiteX36" fmla="*/ 19812 w 129159"/>
              <a:gd name="connsiteY36" fmla="*/ 93090 h 113410"/>
              <a:gd name="connsiteX37" fmla="*/ 17652 w 129159"/>
              <a:gd name="connsiteY37" fmla="*/ 102996 h 113410"/>
              <a:gd name="connsiteX38" fmla="*/ 18034 w 129159"/>
              <a:gd name="connsiteY38" fmla="*/ 106807 h 113410"/>
              <a:gd name="connsiteX39" fmla="*/ 15113 w 129159"/>
              <a:gd name="connsiteY39" fmla="*/ 107060 h 11341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  <a:cxn ang="36">
                <a:pos x="connsiteX36" y="connsiteY36"/>
              </a:cxn>
              <a:cxn ang="37">
                <a:pos x="connsiteX37" y="connsiteY37"/>
              </a:cxn>
              <a:cxn ang="38">
                <a:pos x="connsiteX38" y="connsiteY38"/>
              </a:cxn>
              <a:cxn ang="39">
                <a:pos x="connsiteX39" y="connsiteY39"/>
              </a:cxn>
            </a:cxnLst>
            <a:rect l="l" t="t" r="r" b="b"/>
            <a:pathLst>
              <a:path w="129159" h="113410">
                <a:moveTo>
                  <a:pt x="15113" y="107060"/>
                </a:moveTo>
                <a:lnTo>
                  <a:pt x="6350" y="24129"/>
                </a:lnTo>
                <a:lnTo>
                  <a:pt x="29845" y="20446"/>
                </a:lnTo>
                <a:lnTo>
                  <a:pt x="30099" y="23495"/>
                </a:lnTo>
                <a:cubicBezTo>
                  <a:pt x="24638" y="25272"/>
                  <a:pt x="20827" y="26923"/>
                  <a:pt x="18923" y="28447"/>
                </a:cubicBezTo>
                <a:cubicBezTo>
                  <a:pt x="16891" y="30098"/>
                  <a:pt x="15494" y="32258"/>
                  <a:pt x="14605" y="34925"/>
                </a:cubicBezTo>
                <a:cubicBezTo>
                  <a:pt x="14097" y="37210"/>
                  <a:pt x="14097" y="40894"/>
                  <a:pt x="14605" y="46227"/>
                </a:cubicBezTo>
                <a:lnTo>
                  <a:pt x="17780" y="75819"/>
                </a:lnTo>
                <a:lnTo>
                  <a:pt x="60325" y="71373"/>
                </a:lnTo>
                <a:lnTo>
                  <a:pt x="57785" y="47752"/>
                </a:lnTo>
                <a:cubicBezTo>
                  <a:pt x="57150" y="41528"/>
                  <a:pt x="55880" y="37591"/>
                  <a:pt x="53721" y="35686"/>
                </a:cubicBezTo>
                <a:cubicBezTo>
                  <a:pt x="51054" y="33146"/>
                  <a:pt x="46609" y="32130"/>
                  <a:pt x="40386" y="32384"/>
                </a:cubicBezTo>
                <a:lnTo>
                  <a:pt x="40132" y="29464"/>
                </a:lnTo>
                <a:lnTo>
                  <a:pt x="77597" y="25527"/>
                </a:lnTo>
                <a:lnTo>
                  <a:pt x="77851" y="28447"/>
                </a:lnTo>
                <a:cubicBezTo>
                  <a:pt x="72771" y="29717"/>
                  <a:pt x="69469" y="30860"/>
                  <a:pt x="68072" y="31750"/>
                </a:cubicBezTo>
                <a:cubicBezTo>
                  <a:pt x="66294" y="32892"/>
                  <a:pt x="65024" y="34670"/>
                  <a:pt x="64135" y="36957"/>
                </a:cubicBezTo>
                <a:cubicBezTo>
                  <a:pt x="63373" y="39242"/>
                  <a:pt x="63119" y="42545"/>
                  <a:pt x="63627" y="47116"/>
                </a:cubicBezTo>
                <a:lnTo>
                  <a:pt x="66167" y="70739"/>
                </a:lnTo>
                <a:lnTo>
                  <a:pt x="101600" y="67055"/>
                </a:lnTo>
                <a:cubicBezTo>
                  <a:pt x="106299" y="66547"/>
                  <a:pt x="109220" y="66039"/>
                  <a:pt x="110236" y="65404"/>
                </a:cubicBezTo>
                <a:cubicBezTo>
                  <a:pt x="111252" y="64896"/>
                  <a:pt x="111887" y="64134"/>
                  <a:pt x="112395" y="62991"/>
                </a:cubicBezTo>
                <a:cubicBezTo>
                  <a:pt x="112902" y="61848"/>
                  <a:pt x="113030" y="59816"/>
                  <a:pt x="112776" y="56895"/>
                </a:cubicBezTo>
                <a:lnTo>
                  <a:pt x="110744" y="38608"/>
                </a:lnTo>
                <a:cubicBezTo>
                  <a:pt x="110109" y="32511"/>
                  <a:pt x="109220" y="28066"/>
                  <a:pt x="108077" y="25400"/>
                </a:cubicBezTo>
                <a:cubicBezTo>
                  <a:pt x="107061" y="22733"/>
                  <a:pt x="105029" y="20320"/>
                  <a:pt x="102362" y="18033"/>
                </a:cubicBezTo>
                <a:cubicBezTo>
                  <a:pt x="98679" y="15113"/>
                  <a:pt x="93345" y="12319"/>
                  <a:pt x="86360" y="9525"/>
                </a:cubicBezTo>
                <a:lnTo>
                  <a:pt x="86106" y="6350"/>
                </a:lnTo>
                <a:lnTo>
                  <a:pt x="114046" y="12827"/>
                </a:lnTo>
                <a:lnTo>
                  <a:pt x="122809" y="95758"/>
                </a:lnTo>
                <a:lnTo>
                  <a:pt x="119761" y="96011"/>
                </a:lnTo>
                <a:lnTo>
                  <a:pt x="119380" y="92202"/>
                </a:lnTo>
                <a:cubicBezTo>
                  <a:pt x="119126" y="89661"/>
                  <a:pt x="118237" y="87376"/>
                  <a:pt x="116840" y="85216"/>
                </a:cubicBezTo>
                <a:cubicBezTo>
                  <a:pt x="115824" y="83565"/>
                  <a:pt x="114427" y="82550"/>
                  <a:pt x="112649" y="82169"/>
                </a:cubicBezTo>
                <a:cubicBezTo>
                  <a:pt x="110871" y="81788"/>
                  <a:pt x="107442" y="81788"/>
                  <a:pt x="102108" y="82295"/>
                </a:cubicBezTo>
                <a:lnTo>
                  <a:pt x="32258" y="89661"/>
                </a:lnTo>
                <a:cubicBezTo>
                  <a:pt x="25400" y="90423"/>
                  <a:pt x="21209" y="91566"/>
                  <a:pt x="19812" y="93090"/>
                </a:cubicBezTo>
                <a:cubicBezTo>
                  <a:pt x="17907" y="95250"/>
                  <a:pt x="17145" y="98552"/>
                  <a:pt x="17652" y="102996"/>
                </a:cubicBezTo>
                <a:lnTo>
                  <a:pt x="18034" y="106807"/>
                </a:lnTo>
                <a:lnTo>
                  <a:pt x="15113" y="10706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44" name="Freeform 3"/>
          <p:cNvSpPr/>
          <p:nvPr/>
        </p:nvSpPr>
        <p:spPr>
          <a:xfrm>
            <a:off x="1586050" y="3343062"/>
            <a:ext cx="127575" cy="117128"/>
          </a:xfrm>
          <a:custGeom>
            <a:avLst/>
            <a:gdLst>
              <a:gd name="connsiteX0" fmla="*/ 14096 w 130174"/>
              <a:gd name="connsiteY0" fmla="*/ 102743 h 119507"/>
              <a:gd name="connsiteX1" fmla="*/ 6350 w 130174"/>
              <a:gd name="connsiteY1" fmla="*/ 16002 h 119507"/>
              <a:gd name="connsiteX2" fmla="*/ 9271 w 130174"/>
              <a:gd name="connsiteY2" fmla="*/ 15748 h 119507"/>
              <a:gd name="connsiteX3" fmla="*/ 13588 w 130174"/>
              <a:gd name="connsiteY3" fmla="*/ 28194 h 119507"/>
              <a:gd name="connsiteX4" fmla="*/ 27431 w 130174"/>
              <a:gd name="connsiteY4" fmla="*/ 29845 h 119507"/>
              <a:gd name="connsiteX5" fmla="*/ 95884 w 130174"/>
              <a:gd name="connsiteY5" fmla="*/ 23749 h 119507"/>
              <a:gd name="connsiteX6" fmla="*/ 109219 w 130174"/>
              <a:gd name="connsiteY6" fmla="*/ 19685 h 119507"/>
              <a:gd name="connsiteX7" fmla="*/ 111252 w 130174"/>
              <a:gd name="connsiteY7" fmla="*/ 6604 h 119507"/>
              <a:gd name="connsiteX8" fmla="*/ 114172 w 130174"/>
              <a:gd name="connsiteY8" fmla="*/ 6350 h 119507"/>
              <a:gd name="connsiteX9" fmla="*/ 118363 w 130174"/>
              <a:gd name="connsiteY9" fmla="*/ 52705 h 119507"/>
              <a:gd name="connsiteX10" fmla="*/ 115315 w 130174"/>
              <a:gd name="connsiteY10" fmla="*/ 52959 h 119507"/>
              <a:gd name="connsiteX11" fmla="*/ 110997 w 130174"/>
              <a:gd name="connsiteY11" fmla="*/ 40513 h 119507"/>
              <a:gd name="connsiteX12" fmla="*/ 97281 w 130174"/>
              <a:gd name="connsiteY12" fmla="*/ 38862 h 119507"/>
              <a:gd name="connsiteX13" fmla="*/ 14986 w 130174"/>
              <a:gd name="connsiteY13" fmla="*/ 46228 h 119507"/>
              <a:gd name="connsiteX14" fmla="*/ 17906 w 130174"/>
              <a:gd name="connsiteY14" fmla="*/ 79629 h 119507"/>
              <a:gd name="connsiteX15" fmla="*/ 48133 w 130174"/>
              <a:gd name="connsiteY15" fmla="*/ 76962 h 119507"/>
              <a:gd name="connsiteX16" fmla="*/ 108203 w 130174"/>
              <a:gd name="connsiteY16" fmla="*/ 79502 h 119507"/>
              <a:gd name="connsiteX17" fmla="*/ 123824 w 130174"/>
              <a:gd name="connsiteY17" fmla="*/ 99949 h 119507"/>
              <a:gd name="connsiteX18" fmla="*/ 121665 w 130174"/>
              <a:gd name="connsiteY18" fmla="*/ 109347 h 119507"/>
              <a:gd name="connsiteX19" fmla="*/ 115315 w 130174"/>
              <a:gd name="connsiteY19" fmla="*/ 113157 h 119507"/>
              <a:gd name="connsiteX20" fmla="*/ 109981 w 130174"/>
              <a:gd name="connsiteY20" fmla="*/ 111505 h 119507"/>
              <a:gd name="connsiteX21" fmla="*/ 107441 w 130174"/>
              <a:gd name="connsiteY21" fmla="*/ 106680 h 119507"/>
              <a:gd name="connsiteX22" fmla="*/ 109346 w 130174"/>
              <a:gd name="connsiteY22" fmla="*/ 100838 h 119507"/>
              <a:gd name="connsiteX23" fmla="*/ 111378 w 130174"/>
              <a:gd name="connsiteY23" fmla="*/ 94107 h 119507"/>
              <a:gd name="connsiteX24" fmla="*/ 98806 w 130174"/>
              <a:gd name="connsiteY24" fmla="*/ 83820 h 119507"/>
              <a:gd name="connsiteX25" fmla="*/ 54863 w 130174"/>
              <a:gd name="connsiteY25" fmla="*/ 83312 h 119507"/>
              <a:gd name="connsiteX26" fmla="*/ 32384 w 130174"/>
              <a:gd name="connsiteY26" fmla="*/ 85344 h 119507"/>
              <a:gd name="connsiteX27" fmla="*/ 19049 w 130174"/>
              <a:gd name="connsiteY27" fmla="*/ 89408 h 119507"/>
              <a:gd name="connsiteX28" fmla="*/ 17018 w 130174"/>
              <a:gd name="connsiteY28" fmla="*/ 102489 h 119507"/>
              <a:gd name="connsiteX29" fmla="*/ 14096 w 130174"/>
              <a:gd name="connsiteY29" fmla="*/ 102743 h 11950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</a:cxnLst>
            <a:rect l="l" t="t" r="r" b="b"/>
            <a:pathLst>
              <a:path w="130174" h="119507">
                <a:moveTo>
                  <a:pt x="14096" y="102743"/>
                </a:moveTo>
                <a:lnTo>
                  <a:pt x="6350" y="16002"/>
                </a:lnTo>
                <a:lnTo>
                  <a:pt x="9271" y="15748"/>
                </a:lnTo>
                <a:cubicBezTo>
                  <a:pt x="10159" y="22352"/>
                  <a:pt x="11556" y="26543"/>
                  <a:pt x="13588" y="28194"/>
                </a:cubicBezTo>
                <a:cubicBezTo>
                  <a:pt x="15747" y="29972"/>
                  <a:pt x="20319" y="30480"/>
                  <a:pt x="27431" y="29845"/>
                </a:cubicBezTo>
                <a:lnTo>
                  <a:pt x="95884" y="23749"/>
                </a:lnTo>
                <a:cubicBezTo>
                  <a:pt x="102996" y="23114"/>
                  <a:pt x="107441" y="21717"/>
                  <a:pt x="109219" y="19685"/>
                </a:cubicBezTo>
                <a:cubicBezTo>
                  <a:pt x="110997" y="17653"/>
                  <a:pt x="111633" y="13335"/>
                  <a:pt x="111252" y="6604"/>
                </a:cubicBezTo>
                <a:lnTo>
                  <a:pt x="114172" y="6350"/>
                </a:lnTo>
                <a:lnTo>
                  <a:pt x="118363" y="52705"/>
                </a:lnTo>
                <a:lnTo>
                  <a:pt x="115315" y="52959"/>
                </a:lnTo>
                <a:cubicBezTo>
                  <a:pt x="114553" y="46355"/>
                  <a:pt x="113156" y="42164"/>
                  <a:pt x="110997" y="40513"/>
                </a:cubicBezTo>
                <a:cubicBezTo>
                  <a:pt x="108965" y="38735"/>
                  <a:pt x="104393" y="38227"/>
                  <a:pt x="97281" y="38862"/>
                </a:cubicBezTo>
                <a:lnTo>
                  <a:pt x="14986" y="46228"/>
                </a:lnTo>
                <a:lnTo>
                  <a:pt x="17906" y="79629"/>
                </a:lnTo>
                <a:lnTo>
                  <a:pt x="48133" y="76962"/>
                </a:lnTo>
                <a:cubicBezTo>
                  <a:pt x="78612" y="74168"/>
                  <a:pt x="98678" y="75057"/>
                  <a:pt x="108203" y="79502"/>
                </a:cubicBezTo>
                <a:cubicBezTo>
                  <a:pt x="117856" y="83947"/>
                  <a:pt x="122936" y="90805"/>
                  <a:pt x="123824" y="99949"/>
                </a:cubicBezTo>
                <a:cubicBezTo>
                  <a:pt x="124206" y="103886"/>
                  <a:pt x="123443" y="107061"/>
                  <a:pt x="121665" y="109347"/>
                </a:cubicBezTo>
                <a:cubicBezTo>
                  <a:pt x="120015" y="111633"/>
                  <a:pt x="117856" y="112903"/>
                  <a:pt x="115315" y="113157"/>
                </a:cubicBezTo>
                <a:cubicBezTo>
                  <a:pt x="113284" y="113284"/>
                  <a:pt x="111506" y="112776"/>
                  <a:pt x="109981" y="111505"/>
                </a:cubicBezTo>
                <a:cubicBezTo>
                  <a:pt x="108458" y="110236"/>
                  <a:pt x="107568" y="108585"/>
                  <a:pt x="107441" y="106680"/>
                </a:cubicBezTo>
                <a:cubicBezTo>
                  <a:pt x="107315" y="105029"/>
                  <a:pt x="107949" y="103124"/>
                  <a:pt x="109346" y="100838"/>
                </a:cubicBezTo>
                <a:cubicBezTo>
                  <a:pt x="110871" y="98298"/>
                  <a:pt x="111506" y="96012"/>
                  <a:pt x="111378" y="94107"/>
                </a:cubicBezTo>
                <a:cubicBezTo>
                  <a:pt x="110871" y="89535"/>
                  <a:pt x="106806" y="86105"/>
                  <a:pt x="98806" y="83820"/>
                </a:cubicBezTo>
                <a:cubicBezTo>
                  <a:pt x="90931" y="81661"/>
                  <a:pt x="76327" y="81407"/>
                  <a:pt x="54863" y="83312"/>
                </a:cubicBezTo>
                <a:lnTo>
                  <a:pt x="32384" y="85344"/>
                </a:lnTo>
                <a:cubicBezTo>
                  <a:pt x="25272" y="85979"/>
                  <a:pt x="20828" y="87376"/>
                  <a:pt x="19049" y="89408"/>
                </a:cubicBezTo>
                <a:cubicBezTo>
                  <a:pt x="17271" y="91440"/>
                  <a:pt x="16637" y="95758"/>
                  <a:pt x="17018" y="102489"/>
                </a:cubicBezTo>
                <a:lnTo>
                  <a:pt x="14096" y="102743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45" name="Freeform 3"/>
          <p:cNvSpPr/>
          <p:nvPr/>
        </p:nvSpPr>
        <p:spPr>
          <a:xfrm>
            <a:off x="1636209" y="3273482"/>
            <a:ext cx="59369" cy="49913"/>
          </a:xfrm>
          <a:custGeom>
            <a:avLst/>
            <a:gdLst>
              <a:gd name="connsiteX0" fmla="*/ 6350 w 60578"/>
              <a:gd name="connsiteY0" fmla="*/ 37465 h 50927"/>
              <a:gd name="connsiteX1" fmla="*/ 7492 w 60578"/>
              <a:gd name="connsiteY1" fmla="*/ 44577 h 50927"/>
              <a:gd name="connsiteX2" fmla="*/ 53847 w 60578"/>
              <a:gd name="connsiteY2" fmla="*/ 41275 h 50927"/>
              <a:gd name="connsiteX3" fmla="*/ 54228 w 60578"/>
              <a:gd name="connsiteY3" fmla="*/ 30226 h 50927"/>
              <a:gd name="connsiteX4" fmla="*/ 46354 w 60578"/>
              <a:gd name="connsiteY4" fmla="*/ 12954 h 50927"/>
              <a:gd name="connsiteX5" fmla="*/ 27685 w 60578"/>
              <a:gd name="connsiteY5" fmla="*/ 6350 h 50927"/>
              <a:gd name="connsiteX6" fmla="*/ 10667 w 60578"/>
              <a:gd name="connsiteY6" fmla="*/ 16002 h 50927"/>
              <a:gd name="connsiteX7" fmla="*/ 6350 w 60578"/>
              <a:gd name="connsiteY7" fmla="*/ 37465 h 5092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60578" h="50927">
                <a:moveTo>
                  <a:pt x="6350" y="37465"/>
                </a:moveTo>
                <a:cubicBezTo>
                  <a:pt x="6603" y="39751"/>
                  <a:pt x="6984" y="42164"/>
                  <a:pt x="7492" y="44577"/>
                </a:cubicBezTo>
                <a:lnTo>
                  <a:pt x="53847" y="41275"/>
                </a:lnTo>
                <a:cubicBezTo>
                  <a:pt x="54228" y="36448"/>
                  <a:pt x="54355" y="32892"/>
                  <a:pt x="54228" y="30226"/>
                </a:cubicBezTo>
                <a:cubicBezTo>
                  <a:pt x="53720" y="23748"/>
                  <a:pt x="51053" y="17907"/>
                  <a:pt x="46354" y="12954"/>
                </a:cubicBezTo>
                <a:cubicBezTo>
                  <a:pt x="41655" y="8001"/>
                  <a:pt x="35432" y="5842"/>
                  <a:pt x="27685" y="6350"/>
                </a:cubicBezTo>
                <a:cubicBezTo>
                  <a:pt x="19811" y="6985"/>
                  <a:pt x="14097" y="10160"/>
                  <a:pt x="10667" y="16002"/>
                </a:cubicBezTo>
                <a:cubicBezTo>
                  <a:pt x="7111" y="21844"/>
                  <a:pt x="5714" y="28955"/>
                  <a:pt x="6350" y="37465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46" name="Freeform 3"/>
          <p:cNvSpPr/>
          <p:nvPr/>
        </p:nvSpPr>
        <p:spPr>
          <a:xfrm>
            <a:off x="1582192" y="3256056"/>
            <a:ext cx="121601" cy="101569"/>
          </a:xfrm>
          <a:custGeom>
            <a:avLst/>
            <a:gdLst>
              <a:gd name="connsiteX0" fmla="*/ 9778 w 124078"/>
              <a:gd name="connsiteY0" fmla="*/ 97282 h 103632"/>
              <a:gd name="connsiteX1" fmla="*/ 6350 w 124078"/>
              <a:gd name="connsiteY1" fmla="*/ 50800 h 103632"/>
              <a:gd name="connsiteX2" fmla="*/ 9270 w 124078"/>
              <a:gd name="connsiteY2" fmla="*/ 50672 h 103632"/>
              <a:gd name="connsiteX3" fmla="*/ 13461 w 124078"/>
              <a:gd name="connsiteY3" fmla="*/ 63246 h 103632"/>
              <a:gd name="connsiteX4" fmla="*/ 27177 w 124078"/>
              <a:gd name="connsiteY4" fmla="*/ 65023 h 103632"/>
              <a:gd name="connsiteX5" fmla="*/ 56133 w 124078"/>
              <a:gd name="connsiteY5" fmla="*/ 62865 h 103632"/>
              <a:gd name="connsiteX6" fmla="*/ 55880 w 124078"/>
              <a:gd name="connsiteY6" fmla="*/ 58547 h 103632"/>
              <a:gd name="connsiteX7" fmla="*/ 56133 w 124078"/>
              <a:gd name="connsiteY7" fmla="*/ 29210 h 103632"/>
              <a:gd name="connsiteX8" fmla="*/ 64643 w 124078"/>
              <a:gd name="connsiteY8" fmla="*/ 13335 h 103632"/>
              <a:gd name="connsiteX9" fmla="*/ 81280 w 124078"/>
              <a:gd name="connsiteY9" fmla="*/ 6350 h 103632"/>
              <a:gd name="connsiteX10" fmla="*/ 102996 w 124078"/>
              <a:gd name="connsiteY10" fmla="*/ 13716 h 103632"/>
              <a:gd name="connsiteX11" fmla="*/ 114299 w 124078"/>
              <a:gd name="connsiteY11" fmla="*/ 43688 h 103632"/>
              <a:gd name="connsiteX12" fmla="*/ 117728 w 124078"/>
              <a:gd name="connsiteY12" fmla="*/ 89408 h 103632"/>
              <a:gd name="connsiteX13" fmla="*/ 114808 w 124078"/>
              <a:gd name="connsiteY13" fmla="*/ 89661 h 103632"/>
              <a:gd name="connsiteX14" fmla="*/ 110616 w 124078"/>
              <a:gd name="connsiteY14" fmla="*/ 77089 h 103632"/>
              <a:gd name="connsiteX15" fmla="*/ 96900 w 124078"/>
              <a:gd name="connsiteY15" fmla="*/ 75310 h 103632"/>
              <a:gd name="connsiteX16" fmla="*/ 28321 w 124078"/>
              <a:gd name="connsiteY16" fmla="*/ 80264 h 103632"/>
              <a:gd name="connsiteX17" fmla="*/ 14986 w 124078"/>
              <a:gd name="connsiteY17" fmla="*/ 84073 h 103632"/>
              <a:gd name="connsiteX18" fmla="*/ 12699 w 124078"/>
              <a:gd name="connsiteY18" fmla="*/ 97154 h 103632"/>
              <a:gd name="connsiteX19" fmla="*/ 9778 w 124078"/>
              <a:gd name="connsiteY19" fmla="*/ 97282 h 103632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</a:cxnLst>
            <a:rect l="l" t="t" r="r" b="b"/>
            <a:pathLst>
              <a:path w="124078" h="103632">
                <a:moveTo>
                  <a:pt x="9778" y="97282"/>
                </a:moveTo>
                <a:lnTo>
                  <a:pt x="6350" y="50800"/>
                </a:lnTo>
                <a:lnTo>
                  <a:pt x="9270" y="50672"/>
                </a:lnTo>
                <a:cubicBezTo>
                  <a:pt x="10033" y="57277"/>
                  <a:pt x="11430" y="61467"/>
                  <a:pt x="13461" y="63246"/>
                </a:cubicBezTo>
                <a:cubicBezTo>
                  <a:pt x="15493" y="64897"/>
                  <a:pt x="20065" y="65532"/>
                  <a:pt x="27177" y="65023"/>
                </a:cubicBezTo>
                <a:lnTo>
                  <a:pt x="56133" y="62865"/>
                </a:lnTo>
                <a:lnTo>
                  <a:pt x="55880" y="58547"/>
                </a:lnTo>
                <a:cubicBezTo>
                  <a:pt x="54863" y="45339"/>
                  <a:pt x="54990" y="35560"/>
                  <a:pt x="56133" y="29210"/>
                </a:cubicBezTo>
                <a:cubicBezTo>
                  <a:pt x="57403" y="22986"/>
                  <a:pt x="60197" y="17653"/>
                  <a:pt x="64643" y="13335"/>
                </a:cubicBezTo>
                <a:cubicBezTo>
                  <a:pt x="69087" y="9144"/>
                  <a:pt x="74675" y="6730"/>
                  <a:pt x="81280" y="6350"/>
                </a:cubicBezTo>
                <a:cubicBezTo>
                  <a:pt x="89280" y="5715"/>
                  <a:pt x="96519" y="8128"/>
                  <a:pt x="102996" y="13716"/>
                </a:cubicBezTo>
                <a:cubicBezTo>
                  <a:pt x="109474" y="19177"/>
                  <a:pt x="113283" y="29210"/>
                  <a:pt x="114299" y="43688"/>
                </a:cubicBezTo>
                <a:lnTo>
                  <a:pt x="117728" y="89408"/>
                </a:lnTo>
                <a:lnTo>
                  <a:pt x="114808" y="89661"/>
                </a:lnTo>
                <a:cubicBezTo>
                  <a:pt x="114046" y="82930"/>
                  <a:pt x="112649" y="78740"/>
                  <a:pt x="110616" y="77089"/>
                </a:cubicBezTo>
                <a:cubicBezTo>
                  <a:pt x="108584" y="75310"/>
                  <a:pt x="104012" y="74803"/>
                  <a:pt x="96900" y="75310"/>
                </a:cubicBezTo>
                <a:lnTo>
                  <a:pt x="28321" y="80264"/>
                </a:lnTo>
                <a:cubicBezTo>
                  <a:pt x="21208" y="80772"/>
                  <a:pt x="16763" y="82041"/>
                  <a:pt x="14986" y="84073"/>
                </a:cubicBezTo>
                <a:cubicBezTo>
                  <a:pt x="13208" y="86105"/>
                  <a:pt x="12446" y="90423"/>
                  <a:pt x="12699" y="97154"/>
                </a:cubicBezTo>
                <a:lnTo>
                  <a:pt x="9778" y="97282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47" name="Freeform 3"/>
          <p:cNvSpPr/>
          <p:nvPr/>
        </p:nvSpPr>
        <p:spPr>
          <a:xfrm>
            <a:off x="1572483" y="3136938"/>
            <a:ext cx="124589" cy="127956"/>
          </a:xfrm>
          <a:custGeom>
            <a:avLst/>
            <a:gdLst>
              <a:gd name="connsiteX0" fmla="*/ 12700 w 127127"/>
              <a:gd name="connsiteY0" fmla="*/ 124205 h 130555"/>
              <a:gd name="connsiteX1" fmla="*/ 10033 w 127127"/>
              <a:gd name="connsiteY1" fmla="*/ 77850 h 130555"/>
              <a:gd name="connsiteX2" fmla="*/ 12954 w 127127"/>
              <a:gd name="connsiteY2" fmla="*/ 77724 h 130555"/>
              <a:gd name="connsiteX3" fmla="*/ 13208 w 127127"/>
              <a:gd name="connsiteY3" fmla="*/ 81533 h 130555"/>
              <a:gd name="connsiteX4" fmla="*/ 15494 w 127127"/>
              <a:gd name="connsiteY4" fmla="*/ 88773 h 130555"/>
              <a:gd name="connsiteX5" fmla="*/ 19558 w 127127"/>
              <a:gd name="connsiteY5" fmla="*/ 91948 h 130555"/>
              <a:gd name="connsiteX6" fmla="*/ 30099 w 127127"/>
              <a:gd name="connsiteY6" fmla="*/ 92329 h 130555"/>
              <a:gd name="connsiteX7" fmla="*/ 61086 w 127127"/>
              <a:gd name="connsiteY7" fmla="*/ 90550 h 130555"/>
              <a:gd name="connsiteX8" fmla="*/ 58292 w 127127"/>
              <a:gd name="connsiteY8" fmla="*/ 40385 h 130555"/>
              <a:gd name="connsiteX9" fmla="*/ 27305 w 127127"/>
              <a:gd name="connsiteY9" fmla="*/ 42163 h 130555"/>
              <a:gd name="connsiteX10" fmla="*/ 16510 w 127127"/>
              <a:gd name="connsiteY10" fmla="*/ 43814 h 130555"/>
              <a:gd name="connsiteX11" fmla="*/ 13208 w 127127"/>
              <a:gd name="connsiteY11" fmla="*/ 47244 h 130555"/>
              <a:gd name="connsiteX12" fmla="*/ 11684 w 127127"/>
              <a:gd name="connsiteY12" fmla="*/ 54610 h 130555"/>
              <a:gd name="connsiteX13" fmla="*/ 11938 w 127127"/>
              <a:gd name="connsiteY13" fmla="*/ 58419 h 130555"/>
              <a:gd name="connsiteX14" fmla="*/ 9017 w 127127"/>
              <a:gd name="connsiteY14" fmla="*/ 58674 h 130555"/>
              <a:gd name="connsiteX15" fmla="*/ 6350 w 127127"/>
              <a:gd name="connsiteY15" fmla="*/ 12445 h 130555"/>
              <a:gd name="connsiteX16" fmla="*/ 9271 w 127127"/>
              <a:gd name="connsiteY16" fmla="*/ 12319 h 130555"/>
              <a:gd name="connsiteX17" fmla="*/ 9525 w 127127"/>
              <a:gd name="connsiteY17" fmla="*/ 16128 h 130555"/>
              <a:gd name="connsiteX18" fmla="*/ 11811 w 127127"/>
              <a:gd name="connsiteY18" fmla="*/ 23241 h 130555"/>
              <a:gd name="connsiteX19" fmla="*/ 15875 w 127127"/>
              <a:gd name="connsiteY19" fmla="*/ 26542 h 130555"/>
              <a:gd name="connsiteX20" fmla="*/ 26416 w 127127"/>
              <a:gd name="connsiteY20" fmla="*/ 26797 h 130555"/>
              <a:gd name="connsiteX21" fmla="*/ 96139 w 127127"/>
              <a:gd name="connsiteY21" fmla="*/ 22860 h 130555"/>
              <a:gd name="connsiteX22" fmla="*/ 106933 w 127127"/>
              <a:gd name="connsiteY22" fmla="*/ 21208 h 130555"/>
              <a:gd name="connsiteX23" fmla="*/ 110236 w 127127"/>
              <a:gd name="connsiteY23" fmla="*/ 17779 h 130555"/>
              <a:gd name="connsiteX24" fmla="*/ 111760 w 127127"/>
              <a:gd name="connsiteY24" fmla="*/ 10286 h 130555"/>
              <a:gd name="connsiteX25" fmla="*/ 111505 w 127127"/>
              <a:gd name="connsiteY25" fmla="*/ 6476 h 130555"/>
              <a:gd name="connsiteX26" fmla="*/ 114427 w 127127"/>
              <a:gd name="connsiteY26" fmla="*/ 6350 h 130555"/>
              <a:gd name="connsiteX27" fmla="*/ 117094 w 127127"/>
              <a:gd name="connsiteY27" fmla="*/ 52577 h 130555"/>
              <a:gd name="connsiteX28" fmla="*/ 114046 w 127127"/>
              <a:gd name="connsiteY28" fmla="*/ 52705 h 130555"/>
              <a:gd name="connsiteX29" fmla="*/ 113919 w 127127"/>
              <a:gd name="connsiteY29" fmla="*/ 48894 h 130555"/>
              <a:gd name="connsiteX30" fmla="*/ 109474 w 127127"/>
              <a:gd name="connsiteY30" fmla="*/ 39497 h 130555"/>
              <a:gd name="connsiteX31" fmla="*/ 97027 w 127127"/>
              <a:gd name="connsiteY31" fmla="*/ 38226 h 130555"/>
              <a:gd name="connsiteX32" fmla="*/ 64135 w 127127"/>
              <a:gd name="connsiteY32" fmla="*/ 40004 h 130555"/>
              <a:gd name="connsiteX33" fmla="*/ 66929 w 127127"/>
              <a:gd name="connsiteY33" fmla="*/ 90297 h 130555"/>
              <a:gd name="connsiteX34" fmla="*/ 99822 w 127127"/>
              <a:gd name="connsiteY34" fmla="*/ 88392 h 130555"/>
              <a:gd name="connsiteX35" fmla="*/ 110617 w 127127"/>
              <a:gd name="connsiteY35" fmla="*/ 86741 h 130555"/>
              <a:gd name="connsiteX36" fmla="*/ 113919 w 127127"/>
              <a:gd name="connsiteY36" fmla="*/ 83185 h 130555"/>
              <a:gd name="connsiteX37" fmla="*/ 115442 w 127127"/>
              <a:gd name="connsiteY37" fmla="*/ 75818 h 130555"/>
              <a:gd name="connsiteX38" fmla="*/ 115189 w 127127"/>
              <a:gd name="connsiteY38" fmla="*/ 71881 h 130555"/>
              <a:gd name="connsiteX39" fmla="*/ 118110 w 127127"/>
              <a:gd name="connsiteY39" fmla="*/ 71755 h 130555"/>
              <a:gd name="connsiteX40" fmla="*/ 120777 w 127127"/>
              <a:gd name="connsiteY40" fmla="*/ 118110 h 130555"/>
              <a:gd name="connsiteX41" fmla="*/ 117729 w 127127"/>
              <a:gd name="connsiteY41" fmla="*/ 118236 h 130555"/>
              <a:gd name="connsiteX42" fmla="*/ 117602 w 127127"/>
              <a:gd name="connsiteY42" fmla="*/ 114426 h 130555"/>
              <a:gd name="connsiteX43" fmla="*/ 113157 w 127127"/>
              <a:gd name="connsiteY43" fmla="*/ 104901 h 130555"/>
              <a:gd name="connsiteX44" fmla="*/ 100711 w 127127"/>
              <a:gd name="connsiteY44" fmla="*/ 103631 h 130555"/>
              <a:gd name="connsiteX45" fmla="*/ 30988 w 127127"/>
              <a:gd name="connsiteY45" fmla="*/ 107568 h 130555"/>
              <a:gd name="connsiteX46" fmla="*/ 20193 w 127127"/>
              <a:gd name="connsiteY46" fmla="*/ 109219 h 130555"/>
              <a:gd name="connsiteX47" fmla="*/ 16891 w 127127"/>
              <a:gd name="connsiteY47" fmla="*/ 112775 h 130555"/>
              <a:gd name="connsiteX48" fmla="*/ 15367 w 127127"/>
              <a:gd name="connsiteY48" fmla="*/ 120142 h 130555"/>
              <a:gd name="connsiteX49" fmla="*/ 15621 w 127127"/>
              <a:gd name="connsiteY49" fmla="*/ 123951 h 130555"/>
              <a:gd name="connsiteX50" fmla="*/ 12700 w 127127"/>
              <a:gd name="connsiteY50" fmla="*/ 124205 h 13055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  <a:cxn ang="36">
                <a:pos x="connsiteX36" y="connsiteY36"/>
              </a:cxn>
              <a:cxn ang="37">
                <a:pos x="connsiteX37" y="connsiteY37"/>
              </a:cxn>
              <a:cxn ang="38">
                <a:pos x="connsiteX38" y="connsiteY38"/>
              </a:cxn>
              <a:cxn ang="39">
                <a:pos x="connsiteX39" y="connsiteY39"/>
              </a:cxn>
              <a:cxn ang="40">
                <a:pos x="connsiteX40" y="connsiteY40"/>
              </a:cxn>
              <a:cxn ang="41">
                <a:pos x="connsiteX41" y="connsiteY41"/>
              </a:cxn>
              <a:cxn ang="42">
                <a:pos x="connsiteX42" y="connsiteY42"/>
              </a:cxn>
              <a:cxn ang="43">
                <a:pos x="connsiteX43" y="connsiteY43"/>
              </a:cxn>
              <a:cxn ang="44">
                <a:pos x="connsiteX44" y="connsiteY44"/>
              </a:cxn>
              <a:cxn ang="45">
                <a:pos x="connsiteX45" y="connsiteY45"/>
              </a:cxn>
              <a:cxn ang="46">
                <a:pos x="connsiteX46" y="connsiteY46"/>
              </a:cxn>
              <a:cxn ang="47">
                <a:pos x="connsiteX47" y="connsiteY47"/>
              </a:cxn>
              <a:cxn ang="48">
                <a:pos x="connsiteX48" y="connsiteY48"/>
              </a:cxn>
              <a:cxn ang="49">
                <a:pos x="connsiteX49" y="connsiteY49"/>
              </a:cxn>
              <a:cxn ang="50">
                <a:pos x="connsiteX50" y="connsiteY50"/>
              </a:cxn>
            </a:cxnLst>
            <a:rect l="l" t="t" r="r" b="b"/>
            <a:pathLst>
              <a:path w="127127" h="130555">
                <a:moveTo>
                  <a:pt x="12700" y="124205"/>
                </a:moveTo>
                <a:lnTo>
                  <a:pt x="10033" y="77850"/>
                </a:lnTo>
                <a:lnTo>
                  <a:pt x="12954" y="77724"/>
                </a:lnTo>
                <a:lnTo>
                  <a:pt x="13208" y="81533"/>
                </a:lnTo>
                <a:cubicBezTo>
                  <a:pt x="13335" y="84200"/>
                  <a:pt x="14097" y="86486"/>
                  <a:pt x="15494" y="88773"/>
                </a:cubicBezTo>
                <a:cubicBezTo>
                  <a:pt x="16383" y="90297"/>
                  <a:pt x="17780" y="91439"/>
                  <a:pt x="19558" y="91948"/>
                </a:cubicBezTo>
                <a:cubicBezTo>
                  <a:pt x="21336" y="92455"/>
                  <a:pt x="24764" y="92582"/>
                  <a:pt x="30099" y="92329"/>
                </a:cubicBezTo>
                <a:lnTo>
                  <a:pt x="61086" y="90550"/>
                </a:lnTo>
                <a:lnTo>
                  <a:pt x="58292" y="40385"/>
                </a:lnTo>
                <a:lnTo>
                  <a:pt x="27305" y="42163"/>
                </a:lnTo>
                <a:cubicBezTo>
                  <a:pt x="21844" y="42417"/>
                  <a:pt x="18161" y="42925"/>
                  <a:pt x="16510" y="43814"/>
                </a:cubicBezTo>
                <a:cubicBezTo>
                  <a:pt x="15113" y="44322"/>
                  <a:pt x="14097" y="45592"/>
                  <a:pt x="13208" y="47244"/>
                </a:cubicBezTo>
                <a:cubicBezTo>
                  <a:pt x="12065" y="49656"/>
                  <a:pt x="11557" y="52069"/>
                  <a:pt x="11684" y="54610"/>
                </a:cubicBezTo>
                <a:lnTo>
                  <a:pt x="11938" y="58419"/>
                </a:lnTo>
                <a:lnTo>
                  <a:pt x="9017" y="58674"/>
                </a:lnTo>
                <a:lnTo>
                  <a:pt x="6350" y="12445"/>
                </a:lnTo>
                <a:lnTo>
                  <a:pt x="9271" y="12319"/>
                </a:lnTo>
                <a:lnTo>
                  <a:pt x="9525" y="16128"/>
                </a:lnTo>
                <a:cubicBezTo>
                  <a:pt x="9652" y="18669"/>
                  <a:pt x="10414" y="20954"/>
                  <a:pt x="11811" y="23241"/>
                </a:cubicBezTo>
                <a:cubicBezTo>
                  <a:pt x="12700" y="24891"/>
                  <a:pt x="14097" y="25907"/>
                  <a:pt x="15875" y="26542"/>
                </a:cubicBezTo>
                <a:cubicBezTo>
                  <a:pt x="17653" y="27050"/>
                  <a:pt x="21082" y="27050"/>
                  <a:pt x="26416" y="26797"/>
                </a:cubicBezTo>
                <a:lnTo>
                  <a:pt x="96139" y="22860"/>
                </a:lnTo>
                <a:cubicBezTo>
                  <a:pt x="101600" y="22605"/>
                  <a:pt x="105283" y="21970"/>
                  <a:pt x="106933" y="21208"/>
                </a:cubicBezTo>
                <a:cubicBezTo>
                  <a:pt x="108204" y="20573"/>
                  <a:pt x="109347" y="19430"/>
                  <a:pt x="110236" y="17779"/>
                </a:cubicBezTo>
                <a:cubicBezTo>
                  <a:pt x="111379" y="15366"/>
                  <a:pt x="111886" y="12826"/>
                  <a:pt x="111760" y="10286"/>
                </a:cubicBezTo>
                <a:lnTo>
                  <a:pt x="111505" y="6476"/>
                </a:lnTo>
                <a:lnTo>
                  <a:pt x="114427" y="6350"/>
                </a:lnTo>
                <a:lnTo>
                  <a:pt x="117094" y="52577"/>
                </a:lnTo>
                <a:lnTo>
                  <a:pt x="114046" y="52705"/>
                </a:lnTo>
                <a:lnTo>
                  <a:pt x="113919" y="48894"/>
                </a:lnTo>
                <a:cubicBezTo>
                  <a:pt x="113664" y="44450"/>
                  <a:pt x="112141" y="41401"/>
                  <a:pt x="109474" y="39497"/>
                </a:cubicBezTo>
                <a:cubicBezTo>
                  <a:pt x="107696" y="38226"/>
                  <a:pt x="103505" y="37845"/>
                  <a:pt x="97027" y="38226"/>
                </a:cubicBezTo>
                <a:lnTo>
                  <a:pt x="64135" y="40004"/>
                </a:lnTo>
                <a:lnTo>
                  <a:pt x="66929" y="90297"/>
                </a:lnTo>
                <a:lnTo>
                  <a:pt x="99822" y="88392"/>
                </a:lnTo>
                <a:cubicBezTo>
                  <a:pt x="105410" y="88137"/>
                  <a:pt x="108966" y="87502"/>
                  <a:pt x="110617" y="86741"/>
                </a:cubicBezTo>
                <a:cubicBezTo>
                  <a:pt x="112014" y="86105"/>
                  <a:pt x="113030" y="84962"/>
                  <a:pt x="113919" y="83185"/>
                </a:cubicBezTo>
                <a:cubicBezTo>
                  <a:pt x="115061" y="80899"/>
                  <a:pt x="115570" y="78358"/>
                  <a:pt x="115442" y="75818"/>
                </a:cubicBezTo>
                <a:lnTo>
                  <a:pt x="115189" y="71881"/>
                </a:lnTo>
                <a:lnTo>
                  <a:pt x="118110" y="71755"/>
                </a:lnTo>
                <a:lnTo>
                  <a:pt x="120777" y="118110"/>
                </a:lnTo>
                <a:lnTo>
                  <a:pt x="117729" y="118236"/>
                </a:lnTo>
                <a:lnTo>
                  <a:pt x="117602" y="114426"/>
                </a:lnTo>
                <a:cubicBezTo>
                  <a:pt x="117348" y="109981"/>
                  <a:pt x="115824" y="106806"/>
                  <a:pt x="113157" y="104901"/>
                </a:cubicBezTo>
                <a:cubicBezTo>
                  <a:pt x="111379" y="103758"/>
                  <a:pt x="107188" y="103377"/>
                  <a:pt x="100711" y="103631"/>
                </a:cubicBezTo>
                <a:lnTo>
                  <a:pt x="30988" y="107568"/>
                </a:lnTo>
                <a:cubicBezTo>
                  <a:pt x="25527" y="107949"/>
                  <a:pt x="21844" y="108457"/>
                  <a:pt x="20193" y="109219"/>
                </a:cubicBezTo>
                <a:cubicBezTo>
                  <a:pt x="18796" y="109855"/>
                  <a:pt x="17780" y="110998"/>
                  <a:pt x="16891" y="112775"/>
                </a:cubicBezTo>
                <a:cubicBezTo>
                  <a:pt x="15748" y="115188"/>
                  <a:pt x="15240" y="117601"/>
                  <a:pt x="15367" y="120142"/>
                </a:cubicBezTo>
                <a:lnTo>
                  <a:pt x="15621" y="123951"/>
                </a:lnTo>
                <a:lnTo>
                  <a:pt x="12700" y="124205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48" name="Freeform 3"/>
          <p:cNvSpPr/>
          <p:nvPr/>
        </p:nvSpPr>
        <p:spPr>
          <a:xfrm>
            <a:off x="1573355" y="3044953"/>
            <a:ext cx="112141" cy="80533"/>
          </a:xfrm>
          <a:custGeom>
            <a:avLst/>
            <a:gdLst>
              <a:gd name="connsiteX0" fmla="*/ 6350 w 114426"/>
              <a:gd name="connsiteY0" fmla="*/ 43433 h 82169"/>
              <a:gd name="connsiteX1" fmla="*/ 18033 w 114426"/>
              <a:gd name="connsiteY1" fmla="*/ 66294 h 82169"/>
              <a:gd name="connsiteX2" fmla="*/ 57657 w 114426"/>
              <a:gd name="connsiteY2" fmla="*/ 75819 h 82169"/>
              <a:gd name="connsiteX3" fmla="*/ 98044 w 114426"/>
              <a:gd name="connsiteY3" fmla="*/ 62991 h 82169"/>
              <a:gd name="connsiteX4" fmla="*/ 108076 w 114426"/>
              <a:gd name="connsiteY4" fmla="*/ 39623 h 82169"/>
              <a:gd name="connsiteX5" fmla="*/ 95250 w 114426"/>
              <a:gd name="connsiteY5" fmla="*/ 14858 h 82169"/>
              <a:gd name="connsiteX6" fmla="*/ 57403 w 114426"/>
              <a:gd name="connsiteY6" fmla="*/ 6350 h 82169"/>
              <a:gd name="connsiteX7" fmla="*/ 16382 w 114426"/>
              <a:gd name="connsiteY7" fmla="*/ 18795 h 82169"/>
              <a:gd name="connsiteX8" fmla="*/ 6350 w 114426"/>
              <a:gd name="connsiteY8" fmla="*/ 43433 h 8216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114426" h="82169">
                <a:moveTo>
                  <a:pt x="6350" y="43433"/>
                </a:moveTo>
                <a:cubicBezTo>
                  <a:pt x="6730" y="53085"/>
                  <a:pt x="10667" y="60705"/>
                  <a:pt x="18033" y="66294"/>
                </a:cubicBezTo>
                <a:cubicBezTo>
                  <a:pt x="27177" y="73278"/>
                  <a:pt x="40385" y="76453"/>
                  <a:pt x="57657" y="75819"/>
                </a:cubicBezTo>
                <a:cubicBezTo>
                  <a:pt x="75310" y="75183"/>
                  <a:pt x="88772" y="70866"/>
                  <a:pt x="98044" y="62991"/>
                </a:cubicBezTo>
                <a:cubicBezTo>
                  <a:pt x="105028" y="56895"/>
                  <a:pt x="108330" y="49148"/>
                  <a:pt x="108076" y="39623"/>
                </a:cubicBezTo>
                <a:cubicBezTo>
                  <a:pt x="107695" y="29463"/>
                  <a:pt x="103377" y="21208"/>
                  <a:pt x="95250" y="14858"/>
                </a:cubicBezTo>
                <a:cubicBezTo>
                  <a:pt x="86994" y="8508"/>
                  <a:pt x="74422" y="5714"/>
                  <a:pt x="57403" y="6350"/>
                </a:cubicBezTo>
                <a:cubicBezTo>
                  <a:pt x="38861" y="6984"/>
                  <a:pt x="25145" y="11175"/>
                  <a:pt x="16382" y="18795"/>
                </a:cubicBezTo>
                <a:cubicBezTo>
                  <a:pt x="9270" y="24891"/>
                  <a:pt x="5968" y="33147"/>
                  <a:pt x="6350" y="43433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49" name="Freeform 3"/>
          <p:cNvSpPr/>
          <p:nvPr/>
        </p:nvSpPr>
        <p:spPr>
          <a:xfrm>
            <a:off x="1567629" y="3027152"/>
            <a:ext cx="123344" cy="116257"/>
          </a:xfrm>
          <a:custGeom>
            <a:avLst/>
            <a:gdLst>
              <a:gd name="connsiteX0" fmla="*/ 6350 w 125857"/>
              <a:gd name="connsiteY0" fmla="*/ 60325 h 118618"/>
              <a:gd name="connsiteX1" fmla="*/ 20955 w 125857"/>
              <a:gd name="connsiteY1" fmla="*/ 23241 h 118618"/>
              <a:gd name="connsiteX2" fmla="*/ 60325 w 125857"/>
              <a:gd name="connsiteY2" fmla="*/ 6350 h 118618"/>
              <a:gd name="connsiteX3" fmla="*/ 101854 w 125857"/>
              <a:gd name="connsiteY3" fmla="*/ 20320 h 118618"/>
              <a:gd name="connsiteX4" fmla="*/ 119507 w 125857"/>
              <a:gd name="connsiteY4" fmla="*/ 57404 h 118618"/>
              <a:gd name="connsiteX5" fmla="*/ 105029 w 125857"/>
              <a:gd name="connsiteY5" fmla="*/ 95504 h 118618"/>
              <a:gd name="connsiteX6" fmla="*/ 64516 w 125857"/>
              <a:gd name="connsiteY6" fmla="*/ 112267 h 118618"/>
              <a:gd name="connsiteX7" fmla="*/ 21844 w 125857"/>
              <a:gd name="connsiteY7" fmla="*/ 96266 h 118618"/>
              <a:gd name="connsiteX8" fmla="*/ 6350 w 125857"/>
              <a:gd name="connsiteY8" fmla="*/ 60325 h 11861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125857" h="118618">
                <a:moveTo>
                  <a:pt x="6350" y="60325"/>
                </a:moveTo>
                <a:cubicBezTo>
                  <a:pt x="5842" y="46227"/>
                  <a:pt x="10668" y="33908"/>
                  <a:pt x="20955" y="23241"/>
                </a:cubicBezTo>
                <a:cubicBezTo>
                  <a:pt x="31242" y="12573"/>
                  <a:pt x="44450" y="6858"/>
                  <a:pt x="60325" y="6350"/>
                </a:cubicBezTo>
                <a:cubicBezTo>
                  <a:pt x="76835" y="5714"/>
                  <a:pt x="90677" y="10414"/>
                  <a:pt x="101854" y="20320"/>
                </a:cubicBezTo>
                <a:cubicBezTo>
                  <a:pt x="113030" y="30352"/>
                  <a:pt x="118999" y="42672"/>
                  <a:pt x="119507" y="57404"/>
                </a:cubicBezTo>
                <a:cubicBezTo>
                  <a:pt x="120014" y="72263"/>
                  <a:pt x="115189" y="84963"/>
                  <a:pt x="105029" y="95504"/>
                </a:cubicBezTo>
                <a:cubicBezTo>
                  <a:pt x="94869" y="106045"/>
                  <a:pt x="81280" y="111633"/>
                  <a:pt x="64516" y="112267"/>
                </a:cubicBezTo>
                <a:cubicBezTo>
                  <a:pt x="47370" y="112902"/>
                  <a:pt x="33147" y="107569"/>
                  <a:pt x="21844" y="96266"/>
                </a:cubicBezTo>
                <a:cubicBezTo>
                  <a:pt x="12065" y="86360"/>
                  <a:pt x="6858" y="74422"/>
                  <a:pt x="6350" y="60325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50" name="Freeform 3"/>
          <p:cNvSpPr/>
          <p:nvPr/>
        </p:nvSpPr>
        <p:spPr>
          <a:xfrm>
            <a:off x="1563770" y="2916871"/>
            <a:ext cx="123966" cy="108415"/>
          </a:xfrm>
          <a:custGeom>
            <a:avLst/>
            <a:gdLst>
              <a:gd name="connsiteX0" fmla="*/ 6985 w 126491"/>
              <a:gd name="connsiteY0" fmla="*/ 50164 h 110617"/>
              <a:gd name="connsiteX1" fmla="*/ 12319 w 126491"/>
              <a:gd name="connsiteY1" fmla="*/ 26924 h 110617"/>
              <a:gd name="connsiteX2" fmla="*/ 13969 w 126491"/>
              <a:gd name="connsiteY2" fmla="*/ 22098 h 110617"/>
              <a:gd name="connsiteX3" fmla="*/ 12446 w 126491"/>
              <a:gd name="connsiteY3" fmla="*/ 18414 h 110617"/>
              <a:gd name="connsiteX4" fmla="*/ 6350 w 126491"/>
              <a:gd name="connsiteY4" fmla="*/ 15494 h 110617"/>
              <a:gd name="connsiteX5" fmla="*/ 6350 w 126491"/>
              <a:gd name="connsiteY5" fmla="*/ 12700 h 110617"/>
              <a:gd name="connsiteX6" fmla="*/ 43052 w 126491"/>
              <a:gd name="connsiteY6" fmla="*/ 9652 h 110617"/>
              <a:gd name="connsiteX7" fmla="*/ 43179 w 126491"/>
              <a:gd name="connsiteY7" fmla="*/ 12064 h 110617"/>
              <a:gd name="connsiteX8" fmla="*/ 19558 w 126491"/>
              <a:gd name="connsiteY8" fmla="*/ 26670 h 110617"/>
              <a:gd name="connsiteX9" fmla="*/ 12700 w 126491"/>
              <a:gd name="connsiteY9" fmla="*/ 48767 h 110617"/>
              <a:gd name="connsiteX10" fmla="*/ 18541 w 126491"/>
              <a:gd name="connsiteY10" fmla="*/ 68199 h 110617"/>
              <a:gd name="connsiteX11" fmla="*/ 36195 w 126491"/>
              <a:gd name="connsiteY11" fmla="*/ 81533 h 110617"/>
              <a:gd name="connsiteX12" fmla="*/ 66039 w 126491"/>
              <a:gd name="connsiteY12" fmla="*/ 85979 h 110617"/>
              <a:gd name="connsiteX13" fmla="*/ 91439 w 126491"/>
              <a:gd name="connsiteY13" fmla="*/ 80899 h 110617"/>
              <a:gd name="connsiteX14" fmla="*/ 107695 w 126491"/>
              <a:gd name="connsiteY14" fmla="*/ 66421 h 110617"/>
              <a:gd name="connsiteX15" fmla="*/ 113029 w 126491"/>
              <a:gd name="connsiteY15" fmla="*/ 44704 h 110617"/>
              <a:gd name="connsiteX16" fmla="*/ 108204 w 126491"/>
              <a:gd name="connsiteY16" fmla="*/ 26161 h 110617"/>
              <a:gd name="connsiteX17" fmla="*/ 90042 w 126491"/>
              <a:gd name="connsiteY17" fmla="*/ 8763 h 110617"/>
              <a:gd name="connsiteX18" fmla="*/ 91567 w 126491"/>
              <a:gd name="connsiteY18" fmla="*/ 6350 h 110617"/>
              <a:gd name="connsiteX19" fmla="*/ 113029 w 126491"/>
              <a:gd name="connsiteY19" fmla="*/ 24892 h 110617"/>
              <a:gd name="connsiteX20" fmla="*/ 120142 w 126491"/>
              <a:gd name="connsiteY20" fmla="*/ 50546 h 110617"/>
              <a:gd name="connsiteX21" fmla="*/ 100964 w 126491"/>
              <a:gd name="connsiteY21" fmla="*/ 92583 h 110617"/>
              <a:gd name="connsiteX22" fmla="*/ 66167 w 126491"/>
              <a:gd name="connsiteY22" fmla="*/ 104267 h 110617"/>
              <a:gd name="connsiteX23" fmla="*/ 36322 w 126491"/>
              <a:gd name="connsiteY23" fmla="*/ 97536 h 110617"/>
              <a:gd name="connsiteX24" fmla="*/ 14986 w 126491"/>
              <a:gd name="connsiteY24" fmla="*/ 77851 h 110617"/>
              <a:gd name="connsiteX25" fmla="*/ 6985 w 126491"/>
              <a:gd name="connsiteY25" fmla="*/ 50164 h 11061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</a:cxnLst>
            <a:rect l="l" t="t" r="r" b="b"/>
            <a:pathLst>
              <a:path w="126491" h="110617">
                <a:moveTo>
                  <a:pt x="6985" y="50164"/>
                </a:moveTo>
                <a:cubicBezTo>
                  <a:pt x="6858" y="42417"/>
                  <a:pt x="8636" y="34671"/>
                  <a:pt x="12319" y="26924"/>
                </a:cubicBezTo>
                <a:cubicBezTo>
                  <a:pt x="13461" y="24638"/>
                  <a:pt x="13969" y="23114"/>
                  <a:pt x="13969" y="22098"/>
                </a:cubicBezTo>
                <a:cubicBezTo>
                  <a:pt x="13969" y="20701"/>
                  <a:pt x="13461" y="19430"/>
                  <a:pt x="12446" y="18414"/>
                </a:cubicBezTo>
                <a:cubicBezTo>
                  <a:pt x="10922" y="17017"/>
                  <a:pt x="8889" y="16129"/>
                  <a:pt x="6350" y="15494"/>
                </a:cubicBezTo>
                <a:lnTo>
                  <a:pt x="6350" y="12700"/>
                </a:lnTo>
                <a:lnTo>
                  <a:pt x="43052" y="9652"/>
                </a:lnTo>
                <a:lnTo>
                  <a:pt x="43179" y="12064"/>
                </a:lnTo>
                <a:cubicBezTo>
                  <a:pt x="32130" y="15621"/>
                  <a:pt x="24257" y="20447"/>
                  <a:pt x="19558" y="26670"/>
                </a:cubicBezTo>
                <a:cubicBezTo>
                  <a:pt x="14858" y="32892"/>
                  <a:pt x="12572" y="40258"/>
                  <a:pt x="12700" y="48767"/>
                </a:cubicBezTo>
                <a:cubicBezTo>
                  <a:pt x="12827" y="56007"/>
                  <a:pt x="14732" y="62483"/>
                  <a:pt x="18541" y="68199"/>
                </a:cubicBezTo>
                <a:cubicBezTo>
                  <a:pt x="22225" y="73914"/>
                  <a:pt x="28194" y="78358"/>
                  <a:pt x="36195" y="81533"/>
                </a:cubicBezTo>
                <a:cubicBezTo>
                  <a:pt x="44195" y="84708"/>
                  <a:pt x="54229" y="86233"/>
                  <a:pt x="66039" y="85979"/>
                </a:cubicBezTo>
                <a:cubicBezTo>
                  <a:pt x="75819" y="85852"/>
                  <a:pt x="84327" y="84201"/>
                  <a:pt x="91439" y="80899"/>
                </a:cubicBezTo>
                <a:cubicBezTo>
                  <a:pt x="98551" y="77597"/>
                  <a:pt x="104013" y="72771"/>
                  <a:pt x="107695" y="66421"/>
                </a:cubicBezTo>
                <a:cubicBezTo>
                  <a:pt x="111379" y="60071"/>
                  <a:pt x="113157" y="52832"/>
                  <a:pt x="113029" y="44704"/>
                </a:cubicBezTo>
                <a:cubicBezTo>
                  <a:pt x="112902" y="37719"/>
                  <a:pt x="111379" y="31496"/>
                  <a:pt x="108204" y="26161"/>
                </a:cubicBezTo>
                <a:cubicBezTo>
                  <a:pt x="105155" y="20955"/>
                  <a:pt x="99060" y="15113"/>
                  <a:pt x="90042" y="8763"/>
                </a:cubicBezTo>
                <a:lnTo>
                  <a:pt x="91567" y="6350"/>
                </a:lnTo>
                <a:cubicBezTo>
                  <a:pt x="101345" y="11557"/>
                  <a:pt x="108457" y="17780"/>
                  <a:pt x="113029" y="24892"/>
                </a:cubicBezTo>
                <a:cubicBezTo>
                  <a:pt x="117601" y="32130"/>
                  <a:pt x="120014" y="40639"/>
                  <a:pt x="120142" y="50546"/>
                </a:cubicBezTo>
                <a:cubicBezTo>
                  <a:pt x="120523" y="68580"/>
                  <a:pt x="114045" y="82550"/>
                  <a:pt x="100964" y="92583"/>
                </a:cubicBezTo>
                <a:cubicBezTo>
                  <a:pt x="91186" y="100076"/>
                  <a:pt x="79629" y="104013"/>
                  <a:pt x="66167" y="104267"/>
                </a:cubicBezTo>
                <a:cubicBezTo>
                  <a:pt x="55372" y="104394"/>
                  <a:pt x="45466" y="102235"/>
                  <a:pt x="36322" y="97536"/>
                </a:cubicBezTo>
                <a:cubicBezTo>
                  <a:pt x="27177" y="92836"/>
                  <a:pt x="20066" y="86233"/>
                  <a:pt x="14986" y="77851"/>
                </a:cubicBezTo>
                <a:cubicBezTo>
                  <a:pt x="9779" y="69469"/>
                  <a:pt x="7111" y="60198"/>
                  <a:pt x="6985" y="50164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51" name="Freeform 3"/>
          <p:cNvSpPr/>
          <p:nvPr/>
        </p:nvSpPr>
        <p:spPr>
          <a:xfrm>
            <a:off x="1566010" y="2817418"/>
            <a:ext cx="118614" cy="101569"/>
          </a:xfrm>
          <a:custGeom>
            <a:avLst/>
            <a:gdLst>
              <a:gd name="connsiteX0" fmla="*/ 6350 w 121030"/>
              <a:gd name="connsiteY0" fmla="*/ 95884 h 103632"/>
              <a:gd name="connsiteX1" fmla="*/ 6477 w 121030"/>
              <a:gd name="connsiteY1" fmla="*/ 7619 h 103632"/>
              <a:gd name="connsiteX2" fmla="*/ 31877 w 121030"/>
              <a:gd name="connsiteY2" fmla="*/ 6350 h 103632"/>
              <a:gd name="connsiteX3" fmla="*/ 31877 w 121030"/>
              <a:gd name="connsiteY3" fmla="*/ 9397 h 103632"/>
              <a:gd name="connsiteX4" fmla="*/ 22225 w 121030"/>
              <a:gd name="connsiteY4" fmla="*/ 11810 h 103632"/>
              <a:gd name="connsiteX5" fmla="*/ 15366 w 121030"/>
              <a:gd name="connsiteY5" fmla="*/ 18414 h 103632"/>
              <a:gd name="connsiteX6" fmla="*/ 13208 w 121030"/>
              <a:gd name="connsiteY6" fmla="*/ 29209 h 103632"/>
              <a:gd name="connsiteX7" fmla="*/ 13208 w 121030"/>
              <a:gd name="connsiteY7" fmla="*/ 44450 h 103632"/>
              <a:gd name="connsiteX8" fmla="*/ 95884 w 121030"/>
              <a:gd name="connsiteY8" fmla="*/ 44576 h 103632"/>
              <a:gd name="connsiteX9" fmla="*/ 108331 w 121030"/>
              <a:gd name="connsiteY9" fmla="*/ 42417 h 103632"/>
              <a:gd name="connsiteX10" fmla="*/ 111759 w 121030"/>
              <a:gd name="connsiteY10" fmla="*/ 33019 h 103632"/>
              <a:gd name="connsiteX11" fmla="*/ 111759 w 121030"/>
              <a:gd name="connsiteY11" fmla="*/ 29336 h 103632"/>
              <a:gd name="connsiteX12" fmla="*/ 114681 w 121030"/>
              <a:gd name="connsiteY12" fmla="*/ 29336 h 103632"/>
              <a:gd name="connsiteX13" fmla="*/ 114553 w 121030"/>
              <a:gd name="connsiteY13" fmla="*/ 75183 h 103632"/>
              <a:gd name="connsiteX14" fmla="*/ 111633 w 121030"/>
              <a:gd name="connsiteY14" fmla="*/ 75183 h 103632"/>
              <a:gd name="connsiteX15" fmla="*/ 111633 w 121030"/>
              <a:gd name="connsiteY15" fmla="*/ 71373 h 103632"/>
              <a:gd name="connsiteX16" fmla="*/ 107568 w 121030"/>
              <a:gd name="connsiteY16" fmla="*/ 61594 h 103632"/>
              <a:gd name="connsiteX17" fmla="*/ 95884 w 121030"/>
              <a:gd name="connsiteY17" fmla="*/ 59816 h 103632"/>
              <a:gd name="connsiteX18" fmla="*/ 13208 w 121030"/>
              <a:gd name="connsiteY18" fmla="*/ 59816 h 103632"/>
              <a:gd name="connsiteX19" fmla="*/ 13208 w 121030"/>
              <a:gd name="connsiteY19" fmla="*/ 72770 h 103632"/>
              <a:gd name="connsiteX20" fmla="*/ 14224 w 121030"/>
              <a:gd name="connsiteY20" fmla="*/ 83565 h 103632"/>
              <a:gd name="connsiteX21" fmla="*/ 20066 w 121030"/>
              <a:gd name="connsiteY21" fmla="*/ 90677 h 103632"/>
              <a:gd name="connsiteX22" fmla="*/ 31750 w 121030"/>
              <a:gd name="connsiteY22" fmla="*/ 94233 h 103632"/>
              <a:gd name="connsiteX23" fmla="*/ 31750 w 121030"/>
              <a:gd name="connsiteY23" fmla="*/ 97281 h 103632"/>
              <a:gd name="connsiteX24" fmla="*/ 6350 w 121030"/>
              <a:gd name="connsiteY24" fmla="*/ 95884 h 103632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</a:cxnLst>
            <a:rect l="l" t="t" r="r" b="b"/>
            <a:pathLst>
              <a:path w="121030" h="103632">
                <a:moveTo>
                  <a:pt x="6350" y="95884"/>
                </a:moveTo>
                <a:lnTo>
                  <a:pt x="6477" y="7619"/>
                </a:lnTo>
                <a:lnTo>
                  <a:pt x="31877" y="6350"/>
                </a:lnTo>
                <a:lnTo>
                  <a:pt x="31877" y="9397"/>
                </a:lnTo>
                <a:cubicBezTo>
                  <a:pt x="27305" y="10032"/>
                  <a:pt x="24130" y="10794"/>
                  <a:pt x="22225" y="11810"/>
                </a:cubicBezTo>
                <a:cubicBezTo>
                  <a:pt x="19177" y="13461"/>
                  <a:pt x="16891" y="15620"/>
                  <a:pt x="15366" y="18414"/>
                </a:cubicBezTo>
                <a:cubicBezTo>
                  <a:pt x="13969" y="21081"/>
                  <a:pt x="13208" y="24764"/>
                  <a:pt x="13208" y="29209"/>
                </a:cubicBezTo>
                <a:lnTo>
                  <a:pt x="13208" y="44450"/>
                </a:lnTo>
                <a:lnTo>
                  <a:pt x="95884" y="44576"/>
                </a:lnTo>
                <a:cubicBezTo>
                  <a:pt x="102488" y="44576"/>
                  <a:pt x="106680" y="43814"/>
                  <a:pt x="108331" y="42417"/>
                </a:cubicBezTo>
                <a:cubicBezTo>
                  <a:pt x="110616" y="40385"/>
                  <a:pt x="111633" y="37210"/>
                  <a:pt x="111759" y="33019"/>
                </a:cubicBezTo>
                <a:lnTo>
                  <a:pt x="111759" y="29336"/>
                </a:lnTo>
                <a:lnTo>
                  <a:pt x="114681" y="29336"/>
                </a:lnTo>
                <a:lnTo>
                  <a:pt x="114553" y="75183"/>
                </a:lnTo>
                <a:lnTo>
                  <a:pt x="111633" y="75183"/>
                </a:lnTo>
                <a:lnTo>
                  <a:pt x="111633" y="71373"/>
                </a:lnTo>
                <a:cubicBezTo>
                  <a:pt x="111633" y="66801"/>
                  <a:pt x="110236" y="63500"/>
                  <a:pt x="107568" y="61594"/>
                </a:cubicBezTo>
                <a:cubicBezTo>
                  <a:pt x="105790" y="60451"/>
                  <a:pt x="101981" y="59816"/>
                  <a:pt x="95884" y="59816"/>
                </a:cubicBezTo>
                <a:lnTo>
                  <a:pt x="13208" y="59816"/>
                </a:lnTo>
                <a:lnTo>
                  <a:pt x="13208" y="72770"/>
                </a:lnTo>
                <a:cubicBezTo>
                  <a:pt x="13080" y="77850"/>
                  <a:pt x="13461" y="81406"/>
                  <a:pt x="14224" y="83565"/>
                </a:cubicBezTo>
                <a:cubicBezTo>
                  <a:pt x="15239" y="86359"/>
                  <a:pt x="17144" y="88645"/>
                  <a:pt x="20066" y="90677"/>
                </a:cubicBezTo>
                <a:cubicBezTo>
                  <a:pt x="22986" y="92709"/>
                  <a:pt x="26797" y="93852"/>
                  <a:pt x="31750" y="94233"/>
                </a:cubicBezTo>
                <a:lnTo>
                  <a:pt x="31750" y="97281"/>
                </a:lnTo>
                <a:lnTo>
                  <a:pt x="6350" y="9588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52" name="Freeform 3"/>
          <p:cNvSpPr/>
          <p:nvPr/>
        </p:nvSpPr>
        <p:spPr>
          <a:xfrm>
            <a:off x="1620526" y="2744105"/>
            <a:ext cx="59743" cy="48792"/>
          </a:xfrm>
          <a:custGeom>
            <a:avLst/>
            <a:gdLst>
              <a:gd name="connsiteX0" fmla="*/ 6350 w 60960"/>
              <a:gd name="connsiteY0" fmla="*/ 35178 h 49783"/>
              <a:gd name="connsiteX1" fmla="*/ 6858 w 60960"/>
              <a:gd name="connsiteY1" fmla="*/ 42544 h 49783"/>
              <a:gd name="connsiteX2" fmla="*/ 53213 w 60960"/>
              <a:gd name="connsiteY2" fmla="*/ 43433 h 49783"/>
              <a:gd name="connsiteX3" fmla="*/ 54610 w 60960"/>
              <a:gd name="connsiteY3" fmla="*/ 32511 h 49783"/>
              <a:gd name="connsiteX4" fmla="*/ 48386 w 60960"/>
              <a:gd name="connsiteY4" fmla="*/ 14604 h 49783"/>
              <a:gd name="connsiteX5" fmla="*/ 30480 w 60960"/>
              <a:gd name="connsiteY5" fmla="*/ 6350 h 49783"/>
              <a:gd name="connsiteX6" fmla="*/ 12445 w 60960"/>
              <a:gd name="connsiteY6" fmla="*/ 14223 h 49783"/>
              <a:gd name="connsiteX7" fmla="*/ 6350 w 60960"/>
              <a:gd name="connsiteY7" fmla="*/ 35178 h 4978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60960" h="49783">
                <a:moveTo>
                  <a:pt x="6350" y="35178"/>
                </a:moveTo>
                <a:cubicBezTo>
                  <a:pt x="6223" y="37591"/>
                  <a:pt x="6477" y="40004"/>
                  <a:pt x="6858" y="42544"/>
                </a:cubicBezTo>
                <a:lnTo>
                  <a:pt x="53213" y="43433"/>
                </a:lnTo>
                <a:cubicBezTo>
                  <a:pt x="54102" y="38734"/>
                  <a:pt x="54483" y="35051"/>
                  <a:pt x="54610" y="32511"/>
                </a:cubicBezTo>
                <a:cubicBezTo>
                  <a:pt x="54736" y="25907"/>
                  <a:pt x="52577" y="19938"/>
                  <a:pt x="48386" y="14604"/>
                </a:cubicBezTo>
                <a:cubicBezTo>
                  <a:pt x="44069" y="9270"/>
                  <a:pt x="38100" y="6476"/>
                  <a:pt x="30480" y="6350"/>
                </a:cubicBezTo>
                <a:cubicBezTo>
                  <a:pt x="22479" y="6222"/>
                  <a:pt x="16510" y="8762"/>
                  <a:pt x="12445" y="14223"/>
                </a:cubicBezTo>
                <a:cubicBezTo>
                  <a:pt x="8508" y="19684"/>
                  <a:pt x="6477" y="26669"/>
                  <a:pt x="6350" y="35178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53" name="Freeform 3"/>
          <p:cNvSpPr/>
          <p:nvPr/>
        </p:nvSpPr>
        <p:spPr>
          <a:xfrm>
            <a:off x="1566136" y="2726429"/>
            <a:ext cx="119361" cy="96964"/>
          </a:xfrm>
          <a:custGeom>
            <a:avLst/>
            <a:gdLst>
              <a:gd name="connsiteX0" fmla="*/ 6350 w 121793"/>
              <a:gd name="connsiteY0" fmla="*/ 90424 h 98933"/>
              <a:gd name="connsiteX1" fmla="*/ 7238 w 121793"/>
              <a:gd name="connsiteY1" fmla="*/ 43815 h 98933"/>
              <a:gd name="connsiteX2" fmla="*/ 10286 w 121793"/>
              <a:gd name="connsiteY2" fmla="*/ 43815 h 98933"/>
              <a:gd name="connsiteX3" fmla="*/ 13208 w 121793"/>
              <a:gd name="connsiteY3" fmla="*/ 56769 h 98933"/>
              <a:gd name="connsiteX4" fmla="*/ 26669 w 121793"/>
              <a:gd name="connsiteY4" fmla="*/ 59817 h 98933"/>
              <a:gd name="connsiteX5" fmla="*/ 55752 w 121793"/>
              <a:gd name="connsiteY5" fmla="*/ 60452 h 98933"/>
              <a:gd name="connsiteX6" fmla="*/ 55879 w 121793"/>
              <a:gd name="connsiteY6" fmla="*/ 56134 h 98933"/>
              <a:gd name="connsiteX7" fmla="*/ 58927 w 121793"/>
              <a:gd name="connsiteY7" fmla="*/ 26924 h 98933"/>
              <a:gd name="connsiteX8" fmla="*/ 68833 w 121793"/>
              <a:gd name="connsiteY8" fmla="*/ 11938 h 98933"/>
              <a:gd name="connsiteX9" fmla="*/ 85979 w 121793"/>
              <a:gd name="connsiteY9" fmla="*/ 6350 h 98933"/>
              <a:gd name="connsiteX10" fmla="*/ 107060 w 121793"/>
              <a:gd name="connsiteY10" fmla="*/ 15748 h 98933"/>
              <a:gd name="connsiteX11" fmla="*/ 115442 w 121793"/>
              <a:gd name="connsiteY11" fmla="*/ 46736 h 98933"/>
              <a:gd name="connsiteX12" fmla="*/ 114554 w 121793"/>
              <a:gd name="connsiteY12" fmla="*/ 92583 h 98933"/>
              <a:gd name="connsiteX13" fmla="*/ 111632 w 121793"/>
              <a:gd name="connsiteY13" fmla="*/ 92456 h 98933"/>
              <a:gd name="connsiteX14" fmla="*/ 108711 w 121793"/>
              <a:gd name="connsiteY14" fmla="*/ 79629 h 98933"/>
              <a:gd name="connsiteX15" fmla="*/ 95250 w 121793"/>
              <a:gd name="connsiteY15" fmla="*/ 76454 h 98933"/>
              <a:gd name="connsiteX16" fmla="*/ 26416 w 121793"/>
              <a:gd name="connsiteY16" fmla="*/ 75184 h 98933"/>
              <a:gd name="connsiteX17" fmla="*/ 12826 w 121793"/>
              <a:gd name="connsiteY17" fmla="*/ 77724 h 98933"/>
              <a:gd name="connsiteX18" fmla="*/ 9397 w 121793"/>
              <a:gd name="connsiteY18" fmla="*/ 90424 h 98933"/>
              <a:gd name="connsiteX19" fmla="*/ 6350 w 121793"/>
              <a:gd name="connsiteY19" fmla="*/ 90424 h 9893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</a:cxnLst>
            <a:rect l="l" t="t" r="r" b="b"/>
            <a:pathLst>
              <a:path w="121793" h="98933">
                <a:moveTo>
                  <a:pt x="6350" y="90424"/>
                </a:moveTo>
                <a:lnTo>
                  <a:pt x="7238" y="43815"/>
                </a:lnTo>
                <a:lnTo>
                  <a:pt x="10286" y="43815"/>
                </a:lnTo>
                <a:cubicBezTo>
                  <a:pt x="10286" y="50546"/>
                  <a:pt x="11302" y="54864"/>
                  <a:pt x="13208" y="56769"/>
                </a:cubicBezTo>
                <a:cubicBezTo>
                  <a:pt x="15112" y="58674"/>
                  <a:pt x="19558" y="59690"/>
                  <a:pt x="26669" y="59817"/>
                </a:cubicBezTo>
                <a:lnTo>
                  <a:pt x="55752" y="60452"/>
                </a:lnTo>
                <a:lnTo>
                  <a:pt x="55879" y="56134"/>
                </a:lnTo>
                <a:cubicBezTo>
                  <a:pt x="56133" y="42799"/>
                  <a:pt x="57150" y="33147"/>
                  <a:pt x="58927" y="26924"/>
                </a:cubicBezTo>
                <a:cubicBezTo>
                  <a:pt x="60705" y="20701"/>
                  <a:pt x="64007" y="15748"/>
                  <a:pt x="68833" y="11938"/>
                </a:cubicBezTo>
                <a:cubicBezTo>
                  <a:pt x="73660" y="8127"/>
                  <a:pt x="79375" y="6223"/>
                  <a:pt x="85979" y="6350"/>
                </a:cubicBezTo>
                <a:cubicBezTo>
                  <a:pt x="94107" y="6604"/>
                  <a:pt x="101091" y="9652"/>
                  <a:pt x="107060" y="15748"/>
                </a:cubicBezTo>
                <a:cubicBezTo>
                  <a:pt x="112902" y="21844"/>
                  <a:pt x="115823" y="32131"/>
                  <a:pt x="115442" y="46736"/>
                </a:cubicBezTo>
                <a:lnTo>
                  <a:pt x="114554" y="92583"/>
                </a:lnTo>
                <a:lnTo>
                  <a:pt x="111632" y="92456"/>
                </a:lnTo>
                <a:cubicBezTo>
                  <a:pt x="111632" y="85725"/>
                  <a:pt x="110616" y="81534"/>
                  <a:pt x="108711" y="79629"/>
                </a:cubicBezTo>
                <a:cubicBezTo>
                  <a:pt x="106807" y="77724"/>
                  <a:pt x="102361" y="76708"/>
                  <a:pt x="95250" y="76454"/>
                </a:cubicBezTo>
                <a:lnTo>
                  <a:pt x="26416" y="75184"/>
                </a:lnTo>
                <a:cubicBezTo>
                  <a:pt x="19303" y="75057"/>
                  <a:pt x="14731" y="75819"/>
                  <a:pt x="12826" y="77724"/>
                </a:cubicBezTo>
                <a:cubicBezTo>
                  <a:pt x="10794" y="79502"/>
                  <a:pt x="9651" y="83820"/>
                  <a:pt x="9397" y="90424"/>
                </a:cubicBezTo>
                <a:lnTo>
                  <a:pt x="6350" y="904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54" name="Freeform 3"/>
          <p:cNvSpPr/>
          <p:nvPr/>
        </p:nvSpPr>
        <p:spPr>
          <a:xfrm>
            <a:off x="1575594" y="2579553"/>
            <a:ext cx="112018" cy="80283"/>
          </a:xfrm>
          <a:custGeom>
            <a:avLst/>
            <a:gdLst>
              <a:gd name="connsiteX0" fmla="*/ 6350 w 114300"/>
              <a:gd name="connsiteY0" fmla="*/ 38988 h 81914"/>
              <a:gd name="connsiteX1" fmla="*/ 18033 w 114300"/>
              <a:gd name="connsiteY1" fmla="*/ 64388 h 81914"/>
              <a:gd name="connsiteX2" fmla="*/ 54736 w 114300"/>
              <a:gd name="connsiteY2" fmla="*/ 75564 h 81914"/>
              <a:gd name="connsiteX3" fmla="*/ 92455 w 114300"/>
              <a:gd name="connsiteY3" fmla="*/ 68452 h 81914"/>
              <a:gd name="connsiteX4" fmla="*/ 107950 w 114300"/>
              <a:gd name="connsiteY4" fmla="*/ 43560 h 81914"/>
              <a:gd name="connsiteX5" fmla="*/ 96520 w 114300"/>
              <a:gd name="connsiteY5" fmla="*/ 17398 h 81914"/>
              <a:gd name="connsiteX6" fmla="*/ 60198 w 114300"/>
              <a:gd name="connsiteY6" fmla="*/ 6350 h 81914"/>
              <a:gd name="connsiteX7" fmla="*/ 21463 w 114300"/>
              <a:gd name="connsiteY7" fmla="*/ 13334 h 81914"/>
              <a:gd name="connsiteX8" fmla="*/ 6350 w 114300"/>
              <a:gd name="connsiteY8" fmla="*/ 38988 h 8191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114300" h="81914">
                <a:moveTo>
                  <a:pt x="6350" y="38988"/>
                </a:moveTo>
                <a:cubicBezTo>
                  <a:pt x="5842" y="49275"/>
                  <a:pt x="9779" y="57784"/>
                  <a:pt x="18033" y="64388"/>
                </a:cubicBezTo>
                <a:cubicBezTo>
                  <a:pt x="26289" y="71119"/>
                  <a:pt x="38480" y="74802"/>
                  <a:pt x="54736" y="75564"/>
                </a:cubicBezTo>
                <a:cubicBezTo>
                  <a:pt x="69977" y="76326"/>
                  <a:pt x="82550" y="73913"/>
                  <a:pt x="92455" y="68452"/>
                </a:cubicBezTo>
                <a:cubicBezTo>
                  <a:pt x="102235" y="62991"/>
                  <a:pt x="107442" y="54736"/>
                  <a:pt x="107950" y="43560"/>
                </a:cubicBezTo>
                <a:cubicBezTo>
                  <a:pt x="108458" y="32766"/>
                  <a:pt x="104648" y="24002"/>
                  <a:pt x="96520" y="17398"/>
                </a:cubicBezTo>
                <a:cubicBezTo>
                  <a:pt x="88392" y="10667"/>
                  <a:pt x="76327" y="6984"/>
                  <a:pt x="60198" y="6350"/>
                </a:cubicBezTo>
                <a:cubicBezTo>
                  <a:pt x="43942" y="5587"/>
                  <a:pt x="30988" y="7873"/>
                  <a:pt x="21463" y="13334"/>
                </a:cubicBezTo>
                <a:cubicBezTo>
                  <a:pt x="11938" y="18795"/>
                  <a:pt x="6858" y="27304"/>
                  <a:pt x="6350" y="38988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55" name="Freeform 3"/>
          <p:cNvSpPr/>
          <p:nvPr/>
        </p:nvSpPr>
        <p:spPr>
          <a:xfrm>
            <a:off x="1567505" y="2561504"/>
            <a:ext cx="125709" cy="170651"/>
          </a:xfrm>
          <a:custGeom>
            <a:avLst/>
            <a:gdLst>
              <a:gd name="connsiteX0" fmla="*/ 8889 w 128270"/>
              <a:gd name="connsiteY0" fmla="*/ 55626 h 174117"/>
              <a:gd name="connsiteX1" fmla="*/ 26288 w 128270"/>
              <a:gd name="connsiteY1" fmla="*/ 20193 h 174117"/>
              <a:gd name="connsiteX2" fmla="*/ 67310 w 128270"/>
              <a:gd name="connsiteY2" fmla="*/ 6350 h 174117"/>
              <a:gd name="connsiteX3" fmla="*/ 106807 w 128270"/>
              <a:gd name="connsiteY3" fmla="*/ 23241 h 174117"/>
              <a:gd name="connsiteX4" fmla="*/ 121919 w 128270"/>
              <a:gd name="connsiteY4" fmla="*/ 62230 h 174117"/>
              <a:gd name="connsiteX5" fmla="*/ 113664 w 128270"/>
              <a:gd name="connsiteY5" fmla="*/ 88392 h 174117"/>
              <a:gd name="connsiteX6" fmla="*/ 93344 w 128270"/>
              <a:gd name="connsiteY6" fmla="*/ 106172 h 174117"/>
              <a:gd name="connsiteX7" fmla="*/ 65023 w 128270"/>
              <a:gd name="connsiteY7" fmla="*/ 112268 h 174117"/>
              <a:gd name="connsiteX8" fmla="*/ 64007 w 128270"/>
              <a:gd name="connsiteY8" fmla="*/ 134493 h 174117"/>
              <a:gd name="connsiteX9" fmla="*/ 96773 w 128270"/>
              <a:gd name="connsiteY9" fmla="*/ 136017 h 174117"/>
              <a:gd name="connsiteX10" fmla="*/ 109854 w 128270"/>
              <a:gd name="connsiteY10" fmla="*/ 134239 h 174117"/>
              <a:gd name="connsiteX11" fmla="*/ 113664 w 128270"/>
              <a:gd name="connsiteY11" fmla="*/ 123698 h 174117"/>
              <a:gd name="connsiteX12" fmla="*/ 113664 w 128270"/>
              <a:gd name="connsiteY12" fmla="*/ 121285 h 174117"/>
              <a:gd name="connsiteX13" fmla="*/ 116713 w 128270"/>
              <a:gd name="connsiteY13" fmla="*/ 121412 h 174117"/>
              <a:gd name="connsiteX14" fmla="*/ 114554 w 128270"/>
              <a:gd name="connsiteY14" fmla="*/ 167767 h 174117"/>
              <a:gd name="connsiteX15" fmla="*/ 111632 w 128270"/>
              <a:gd name="connsiteY15" fmla="*/ 167640 h 174117"/>
              <a:gd name="connsiteX16" fmla="*/ 111760 w 128270"/>
              <a:gd name="connsiteY16" fmla="*/ 164338 h 174117"/>
              <a:gd name="connsiteX17" fmla="*/ 110489 w 128270"/>
              <a:gd name="connsiteY17" fmla="*/ 156845 h 174117"/>
              <a:gd name="connsiteX18" fmla="*/ 106552 w 128270"/>
              <a:gd name="connsiteY18" fmla="*/ 152781 h 174117"/>
              <a:gd name="connsiteX19" fmla="*/ 96138 w 128270"/>
              <a:gd name="connsiteY19" fmla="*/ 151384 h 174117"/>
              <a:gd name="connsiteX20" fmla="*/ 26288 w 128270"/>
              <a:gd name="connsiteY20" fmla="*/ 148082 h 174117"/>
              <a:gd name="connsiteX21" fmla="*/ 15620 w 128270"/>
              <a:gd name="connsiteY21" fmla="*/ 148590 h 174117"/>
              <a:gd name="connsiteX22" fmla="*/ 11302 w 128270"/>
              <a:gd name="connsiteY22" fmla="*/ 152400 h 174117"/>
              <a:gd name="connsiteX23" fmla="*/ 9525 w 128270"/>
              <a:gd name="connsiteY23" fmla="*/ 160401 h 174117"/>
              <a:gd name="connsiteX24" fmla="*/ 9397 w 128270"/>
              <a:gd name="connsiteY24" fmla="*/ 162814 h 174117"/>
              <a:gd name="connsiteX25" fmla="*/ 6350 w 128270"/>
              <a:gd name="connsiteY25" fmla="*/ 162687 h 174117"/>
              <a:gd name="connsiteX26" fmla="*/ 8508 w 128270"/>
              <a:gd name="connsiteY26" fmla="*/ 116459 h 174117"/>
              <a:gd name="connsiteX27" fmla="*/ 11556 w 128270"/>
              <a:gd name="connsiteY27" fmla="*/ 116586 h 174117"/>
              <a:gd name="connsiteX28" fmla="*/ 11429 w 128270"/>
              <a:gd name="connsiteY28" fmla="*/ 118999 h 174117"/>
              <a:gd name="connsiteX29" fmla="*/ 12572 w 128270"/>
              <a:gd name="connsiteY29" fmla="*/ 127381 h 174117"/>
              <a:gd name="connsiteX30" fmla="*/ 16128 w 128270"/>
              <a:gd name="connsiteY30" fmla="*/ 131191 h 174117"/>
              <a:gd name="connsiteX31" fmla="*/ 26923 w 128270"/>
              <a:gd name="connsiteY31" fmla="*/ 132842 h 174117"/>
              <a:gd name="connsiteX32" fmla="*/ 58166 w 128270"/>
              <a:gd name="connsiteY32" fmla="*/ 134239 h 174117"/>
              <a:gd name="connsiteX33" fmla="*/ 59182 w 128270"/>
              <a:gd name="connsiteY33" fmla="*/ 112014 h 174117"/>
              <a:gd name="connsiteX34" fmla="*/ 21844 w 128270"/>
              <a:gd name="connsiteY34" fmla="*/ 93345 h 174117"/>
              <a:gd name="connsiteX35" fmla="*/ 8889 w 128270"/>
              <a:gd name="connsiteY35" fmla="*/ 55626 h 17411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</a:cxnLst>
            <a:rect l="l" t="t" r="r" b="b"/>
            <a:pathLst>
              <a:path w="128270" h="174117">
                <a:moveTo>
                  <a:pt x="8889" y="55626"/>
                </a:moveTo>
                <a:cubicBezTo>
                  <a:pt x="9525" y="42037"/>
                  <a:pt x="15239" y="30226"/>
                  <a:pt x="26288" y="20193"/>
                </a:cubicBezTo>
                <a:cubicBezTo>
                  <a:pt x="37210" y="10160"/>
                  <a:pt x="50926" y="5588"/>
                  <a:pt x="67310" y="6350"/>
                </a:cubicBezTo>
                <a:cubicBezTo>
                  <a:pt x="82930" y="7112"/>
                  <a:pt x="96138" y="12700"/>
                  <a:pt x="106807" y="23241"/>
                </a:cubicBezTo>
                <a:cubicBezTo>
                  <a:pt x="117601" y="33782"/>
                  <a:pt x="122554" y="46736"/>
                  <a:pt x="121919" y="62230"/>
                </a:cubicBezTo>
                <a:cubicBezTo>
                  <a:pt x="121411" y="72136"/>
                  <a:pt x="118617" y="80899"/>
                  <a:pt x="113664" y="88392"/>
                </a:cubicBezTo>
                <a:cubicBezTo>
                  <a:pt x="108585" y="95885"/>
                  <a:pt x="101854" y="101854"/>
                  <a:pt x="93344" y="106172"/>
                </a:cubicBezTo>
                <a:cubicBezTo>
                  <a:pt x="84708" y="110490"/>
                  <a:pt x="75310" y="112522"/>
                  <a:pt x="65023" y="112268"/>
                </a:cubicBezTo>
                <a:lnTo>
                  <a:pt x="64007" y="134493"/>
                </a:lnTo>
                <a:lnTo>
                  <a:pt x="96773" y="136017"/>
                </a:lnTo>
                <a:cubicBezTo>
                  <a:pt x="103251" y="136398"/>
                  <a:pt x="107569" y="135763"/>
                  <a:pt x="109854" y="134239"/>
                </a:cubicBezTo>
                <a:cubicBezTo>
                  <a:pt x="112141" y="132588"/>
                  <a:pt x="113410" y="129159"/>
                  <a:pt x="113664" y="123698"/>
                </a:cubicBezTo>
                <a:lnTo>
                  <a:pt x="113664" y="121285"/>
                </a:lnTo>
                <a:lnTo>
                  <a:pt x="116713" y="121412"/>
                </a:lnTo>
                <a:lnTo>
                  <a:pt x="114554" y="167767"/>
                </a:lnTo>
                <a:lnTo>
                  <a:pt x="111632" y="167640"/>
                </a:lnTo>
                <a:lnTo>
                  <a:pt x="111760" y="164338"/>
                </a:lnTo>
                <a:cubicBezTo>
                  <a:pt x="111886" y="161290"/>
                  <a:pt x="111505" y="158877"/>
                  <a:pt x="110489" y="156845"/>
                </a:cubicBezTo>
                <a:cubicBezTo>
                  <a:pt x="109473" y="154813"/>
                  <a:pt x="108204" y="153416"/>
                  <a:pt x="106552" y="152781"/>
                </a:cubicBezTo>
                <a:cubicBezTo>
                  <a:pt x="104901" y="152019"/>
                  <a:pt x="101345" y="151638"/>
                  <a:pt x="96138" y="151384"/>
                </a:cubicBezTo>
                <a:lnTo>
                  <a:pt x="26288" y="148082"/>
                </a:lnTo>
                <a:cubicBezTo>
                  <a:pt x="21081" y="147955"/>
                  <a:pt x="17525" y="148082"/>
                  <a:pt x="15620" y="148590"/>
                </a:cubicBezTo>
                <a:cubicBezTo>
                  <a:pt x="13842" y="149225"/>
                  <a:pt x="12319" y="150495"/>
                  <a:pt x="11302" y="152400"/>
                </a:cubicBezTo>
                <a:cubicBezTo>
                  <a:pt x="10286" y="154305"/>
                  <a:pt x="9651" y="156972"/>
                  <a:pt x="9525" y="160401"/>
                </a:cubicBezTo>
                <a:lnTo>
                  <a:pt x="9397" y="162814"/>
                </a:lnTo>
                <a:lnTo>
                  <a:pt x="6350" y="162687"/>
                </a:lnTo>
                <a:lnTo>
                  <a:pt x="8508" y="116459"/>
                </a:lnTo>
                <a:lnTo>
                  <a:pt x="11556" y="116586"/>
                </a:lnTo>
                <a:lnTo>
                  <a:pt x="11429" y="118999"/>
                </a:lnTo>
                <a:cubicBezTo>
                  <a:pt x="11175" y="122936"/>
                  <a:pt x="11556" y="125730"/>
                  <a:pt x="12572" y="127381"/>
                </a:cubicBezTo>
                <a:cubicBezTo>
                  <a:pt x="13461" y="129032"/>
                  <a:pt x="14731" y="130302"/>
                  <a:pt x="16128" y="131191"/>
                </a:cubicBezTo>
                <a:cubicBezTo>
                  <a:pt x="17525" y="131952"/>
                  <a:pt x="21208" y="132588"/>
                  <a:pt x="26923" y="132842"/>
                </a:cubicBezTo>
                <a:lnTo>
                  <a:pt x="58166" y="134239"/>
                </a:lnTo>
                <a:lnTo>
                  <a:pt x="59182" y="112014"/>
                </a:lnTo>
                <a:cubicBezTo>
                  <a:pt x="43560" y="110617"/>
                  <a:pt x="31114" y="104267"/>
                  <a:pt x="21844" y="93345"/>
                </a:cubicBezTo>
                <a:cubicBezTo>
                  <a:pt x="12572" y="82296"/>
                  <a:pt x="8254" y="69723"/>
                  <a:pt x="8889" y="55626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56" name="Freeform 3"/>
          <p:cNvSpPr/>
          <p:nvPr/>
        </p:nvSpPr>
        <p:spPr>
          <a:xfrm>
            <a:off x="1893974" y="3690712"/>
            <a:ext cx="126579" cy="102813"/>
          </a:xfrm>
          <a:custGeom>
            <a:avLst/>
            <a:gdLst>
              <a:gd name="connsiteX0" fmla="*/ 18414 w 129158"/>
              <a:gd name="connsiteY0" fmla="*/ 98551 h 104901"/>
              <a:gd name="connsiteX1" fmla="*/ 6350 w 129158"/>
              <a:gd name="connsiteY1" fmla="*/ 10921 h 104901"/>
              <a:gd name="connsiteX2" fmla="*/ 31242 w 129158"/>
              <a:gd name="connsiteY2" fmla="*/ 6350 h 104901"/>
              <a:gd name="connsiteX3" fmla="*/ 31750 w 129158"/>
              <a:gd name="connsiteY3" fmla="*/ 9270 h 104901"/>
              <a:gd name="connsiteX4" fmla="*/ 22605 w 129158"/>
              <a:gd name="connsiteY4" fmla="*/ 12953 h 104901"/>
              <a:gd name="connsiteX5" fmla="*/ 16636 w 129158"/>
              <a:gd name="connsiteY5" fmla="*/ 20446 h 104901"/>
              <a:gd name="connsiteX6" fmla="*/ 16001 w 129158"/>
              <a:gd name="connsiteY6" fmla="*/ 31495 h 104901"/>
              <a:gd name="connsiteX7" fmla="*/ 18033 w 129158"/>
              <a:gd name="connsiteY7" fmla="*/ 46608 h 104901"/>
              <a:gd name="connsiteX8" fmla="*/ 99948 w 129158"/>
              <a:gd name="connsiteY8" fmla="*/ 35305 h 104901"/>
              <a:gd name="connsiteX9" fmla="*/ 112014 w 129158"/>
              <a:gd name="connsiteY9" fmla="*/ 31369 h 104901"/>
              <a:gd name="connsiteX10" fmla="*/ 114045 w 129158"/>
              <a:gd name="connsiteY10" fmla="*/ 21716 h 104901"/>
              <a:gd name="connsiteX11" fmla="*/ 113538 w 129158"/>
              <a:gd name="connsiteY11" fmla="*/ 18033 h 104901"/>
              <a:gd name="connsiteX12" fmla="*/ 116458 w 129158"/>
              <a:gd name="connsiteY12" fmla="*/ 17526 h 104901"/>
              <a:gd name="connsiteX13" fmla="*/ 122808 w 129158"/>
              <a:gd name="connsiteY13" fmla="*/ 62991 h 104901"/>
              <a:gd name="connsiteX14" fmla="*/ 119888 w 129158"/>
              <a:gd name="connsiteY14" fmla="*/ 63500 h 104901"/>
              <a:gd name="connsiteX15" fmla="*/ 119380 w 129158"/>
              <a:gd name="connsiteY15" fmla="*/ 59689 h 104901"/>
              <a:gd name="connsiteX16" fmla="*/ 113919 w 129158"/>
              <a:gd name="connsiteY16" fmla="*/ 50545 h 104901"/>
              <a:gd name="connsiteX17" fmla="*/ 102108 w 129158"/>
              <a:gd name="connsiteY17" fmla="*/ 50419 h 104901"/>
              <a:gd name="connsiteX18" fmla="*/ 20192 w 129158"/>
              <a:gd name="connsiteY18" fmla="*/ 61721 h 104901"/>
              <a:gd name="connsiteX19" fmla="*/ 21970 w 129158"/>
              <a:gd name="connsiteY19" fmla="*/ 74676 h 104901"/>
              <a:gd name="connsiteX20" fmla="*/ 24511 w 129158"/>
              <a:gd name="connsiteY20" fmla="*/ 85216 h 104901"/>
              <a:gd name="connsiteX21" fmla="*/ 31369 w 129158"/>
              <a:gd name="connsiteY21" fmla="*/ 91439 h 104901"/>
              <a:gd name="connsiteX22" fmla="*/ 43307 w 129158"/>
              <a:gd name="connsiteY22" fmla="*/ 93344 h 104901"/>
              <a:gd name="connsiteX23" fmla="*/ 43688 w 129158"/>
              <a:gd name="connsiteY23" fmla="*/ 96265 h 104901"/>
              <a:gd name="connsiteX24" fmla="*/ 18414 w 129158"/>
              <a:gd name="connsiteY24" fmla="*/ 98551 h 10490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</a:cxnLst>
            <a:rect l="l" t="t" r="r" b="b"/>
            <a:pathLst>
              <a:path w="129158" h="104901">
                <a:moveTo>
                  <a:pt x="18414" y="98551"/>
                </a:moveTo>
                <a:lnTo>
                  <a:pt x="6350" y="10921"/>
                </a:lnTo>
                <a:lnTo>
                  <a:pt x="31242" y="6350"/>
                </a:lnTo>
                <a:lnTo>
                  <a:pt x="31750" y="9270"/>
                </a:lnTo>
                <a:cubicBezTo>
                  <a:pt x="27305" y="10540"/>
                  <a:pt x="24257" y="11683"/>
                  <a:pt x="22605" y="12953"/>
                </a:cubicBezTo>
                <a:cubicBezTo>
                  <a:pt x="19685" y="15113"/>
                  <a:pt x="17780" y="17526"/>
                  <a:pt x="16636" y="20446"/>
                </a:cubicBezTo>
                <a:cubicBezTo>
                  <a:pt x="15620" y="23367"/>
                  <a:pt x="15367" y="27051"/>
                  <a:pt x="16001" y="31495"/>
                </a:cubicBezTo>
                <a:lnTo>
                  <a:pt x="18033" y="46608"/>
                </a:lnTo>
                <a:lnTo>
                  <a:pt x="99948" y="35305"/>
                </a:lnTo>
                <a:cubicBezTo>
                  <a:pt x="106552" y="34289"/>
                  <a:pt x="110617" y="33019"/>
                  <a:pt x="112014" y="31369"/>
                </a:cubicBezTo>
                <a:cubicBezTo>
                  <a:pt x="114045" y="29082"/>
                  <a:pt x="114680" y="25907"/>
                  <a:pt x="114045" y="21716"/>
                </a:cubicBezTo>
                <a:lnTo>
                  <a:pt x="113538" y="18033"/>
                </a:lnTo>
                <a:lnTo>
                  <a:pt x="116458" y="17526"/>
                </a:lnTo>
                <a:lnTo>
                  <a:pt x="122808" y="62991"/>
                </a:lnTo>
                <a:lnTo>
                  <a:pt x="119888" y="63500"/>
                </a:lnTo>
                <a:lnTo>
                  <a:pt x="119380" y="59689"/>
                </a:lnTo>
                <a:cubicBezTo>
                  <a:pt x="118745" y="55117"/>
                  <a:pt x="116839" y="52069"/>
                  <a:pt x="113919" y="50545"/>
                </a:cubicBezTo>
                <a:cubicBezTo>
                  <a:pt x="112014" y="49657"/>
                  <a:pt x="108076" y="49657"/>
                  <a:pt x="102108" y="50419"/>
                </a:cubicBezTo>
                <a:lnTo>
                  <a:pt x="20192" y="61721"/>
                </a:lnTo>
                <a:lnTo>
                  <a:pt x="21970" y="74676"/>
                </a:lnTo>
                <a:cubicBezTo>
                  <a:pt x="22733" y="79628"/>
                  <a:pt x="23495" y="83184"/>
                  <a:pt x="24511" y="85216"/>
                </a:cubicBezTo>
                <a:cubicBezTo>
                  <a:pt x="25908" y="87757"/>
                  <a:pt x="28194" y="89915"/>
                  <a:pt x="31369" y="91439"/>
                </a:cubicBezTo>
                <a:cubicBezTo>
                  <a:pt x="34417" y="92963"/>
                  <a:pt x="38480" y="93598"/>
                  <a:pt x="43307" y="93344"/>
                </a:cubicBezTo>
                <a:lnTo>
                  <a:pt x="43688" y="96265"/>
                </a:lnTo>
                <a:lnTo>
                  <a:pt x="18414" y="98551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57" name="Freeform 3"/>
          <p:cNvSpPr/>
          <p:nvPr/>
        </p:nvSpPr>
        <p:spPr>
          <a:xfrm>
            <a:off x="1893974" y="3619888"/>
            <a:ext cx="59245" cy="47922"/>
          </a:xfrm>
          <a:custGeom>
            <a:avLst/>
            <a:gdLst>
              <a:gd name="connsiteX0" fmla="*/ 6350 w 60452"/>
              <a:gd name="connsiteY0" fmla="*/ 32384 h 48895"/>
              <a:gd name="connsiteX1" fmla="*/ 9144 w 60452"/>
              <a:gd name="connsiteY1" fmla="*/ 42545 h 48895"/>
              <a:gd name="connsiteX2" fmla="*/ 53848 w 60452"/>
              <a:gd name="connsiteY2" fmla="*/ 36829 h 48895"/>
              <a:gd name="connsiteX3" fmla="*/ 54101 w 60452"/>
              <a:gd name="connsiteY3" fmla="*/ 29209 h 48895"/>
              <a:gd name="connsiteX4" fmla="*/ 53720 w 60452"/>
              <a:gd name="connsiteY4" fmla="*/ 23621 h 48895"/>
              <a:gd name="connsiteX5" fmla="*/ 45592 w 60452"/>
              <a:gd name="connsiteY5" fmla="*/ 10286 h 48895"/>
              <a:gd name="connsiteX6" fmla="*/ 28320 w 60452"/>
              <a:gd name="connsiteY6" fmla="*/ 6350 h 48895"/>
              <a:gd name="connsiteX7" fmla="*/ 15748 w 60452"/>
              <a:gd name="connsiteY7" fmla="*/ 10921 h 48895"/>
              <a:gd name="connsiteX8" fmla="*/ 7747 w 60452"/>
              <a:gd name="connsiteY8" fmla="*/ 20065 h 48895"/>
              <a:gd name="connsiteX9" fmla="*/ 6350 w 60452"/>
              <a:gd name="connsiteY9" fmla="*/ 32384 h 4889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</a:cxnLst>
            <a:rect l="l" t="t" r="r" b="b"/>
            <a:pathLst>
              <a:path w="60452" h="48895">
                <a:moveTo>
                  <a:pt x="6350" y="32384"/>
                </a:moveTo>
                <a:cubicBezTo>
                  <a:pt x="6604" y="35051"/>
                  <a:pt x="7620" y="38480"/>
                  <a:pt x="9144" y="42545"/>
                </a:cubicBezTo>
                <a:lnTo>
                  <a:pt x="53848" y="36829"/>
                </a:lnTo>
                <a:cubicBezTo>
                  <a:pt x="53975" y="33908"/>
                  <a:pt x="54101" y="31495"/>
                  <a:pt x="54101" y="29209"/>
                </a:cubicBezTo>
                <a:cubicBezTo>
                  <a:pt x="53975" y="27051"/>
                  <a:pt x="53975" y="25145"/>
                  <a:pt x="53720" y="23621"/>
                </a:cubicBezTo>
                <a:cubicBezTo>
                  <a:pt x="53086" y="18160"/>
                  <a:pt x="50292" y="13715"/>
                  <a:pt x="45592" y="10286"/>
                </a:cubicBezTo>
                <a:cubicBezTo>
                  <a:pt x="40767" y="6857"/>
                  <a:pt x="35051" y="5460"/>
                  <a:pt x="28320" y="6350"/>
                </a:cubicBezTo>
                <a:cubicBezTo>
                  <a:pt x="23622" y="6984"/>
                  <a:pt x="19430" y="8508"/>
                  <a:pt x="15748" y="10921"/>
                </a:cubicBezTo>
                <a:cubicBezTo>
                  <a:pt x="11938" y="13334"/>
                  <a:pt x="9270" y="16382"/>
                  <a:pt x="7747" y="20065"/>
                </a:cubicBezTo>
                <a:cubicBezTo>
                  <a:pt x="6223" y="23876"/>
                  <a:pt x="5714" y="27939"/>
                  <a:pt x="6350" y="32384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58" name="Freeform 3"/>
          <p:cNvSpPr/>
          <p:nvPr/>
        </p:nvSpPr>
        <p:spPr>
          <a:xfrm>
            <a:off x="1887876" y="3602462"/>
            <a:ext cx="122597" cy="96340"/>
          </a:xfrm>
          <a:custGeom>
            <a:avLst/>
            <a:gdLst>
              <a:gd name="connsiteX0" fmla="*/ 11303 w 125095"/>
              <a:gd name="connsiteY0" fmla="*/ 91947 h 98297"/>
              <a:gd name="connsiteX1" fmla="*/ 6350 w 125095"/>
              <a:gd name="connsiteY1" fmla="*/ 52577 h 98297"/>
              <a:gd name="connsiteX2" fmla="*/ 6350 w 125095"/>
              <a:gd name="connsiteY2" fmla="*/ 29463 h 98297"/>
              <a:gd name="connsiteX3" fmla="*/ 14605 w 125095"/>
              <a:gd name="connsiteY3" fmla="*/ 14096 h 98297"/>
              <a:gd name="connsiteX4" fmla="*/ 30607 w 125095"/>
              <a:gd name="connsiteY4" fmla="*/ 6350 h 98297"/>
              <a:gd name="connsiteX5" fmla="*/ 53086 w 125095"/>
              <a:gd name="connsiteY5" fmla="*/ 12191 h 98297"/>
              <a:gd name="connsiteX6" fmla="*/ 64516 w 125095"/>
              <a:gd name="connsiteY6" fmla="*/ 35686 h 98297"/>
              <a:gd name="connsiteX7" fmla="*/ 65024 w 125095"/>
              <a:gd name="connsiteY7" fmla="*/ 44195 h 98297"/>
              <a:gd name="connsiteX8" fmla="*/ 64516 w 125095"/>
              <a:gd name="connsiteY8" fmla="*/ 53975 h 98297"/>
              <a:gd name="connsiteX9" fmla="*/ 95758 w 125095"/>
              <a:gd name="connsiteY9" fmla="*/ 50037 h 98297"/>
              <a:gd name="connsiteX10" fmla="*/ 108077 w 125095"/>
              <a:gd name="connsiteY10" fmla="*/ 46227 h 98297"/>
              <a:gd name="connsiteX11" fmla="*/ 110490 w 125095"/>
              <a:gd name="connsiteY11" fmla="*/ 36702 h 98297"/>
              <a:gd name="connsiteX12" fmla="*/ 109982 w 125095"/>
              <a:gd name="connsiteY12" fmla="*/ 32511 h 98297"/>
              <a:gd name="connsiteX13" fmla="*/ 112903 w 125095"/>
              <a:gd name="connsiteY13" fmla="*/ 32130 h 98297"/>
              <a:gd name="connsiteX14" fmla="*/ 118745 w 125095"/>
              <a:gd name="connsiteY14" fmla="*/ 78231 h 98297"/>
              <a:gd name="connsiteX15" fmla="*/ 115824 w 125095"/>
              <a:gd name="connsiteY15" fmla="*/ 78612 h 98297"/>
              <a:gd name="connsiteX16" fmla="*/ 115316 w 125095"/>
              <a:gd name="connsiteY16" fmla="*/ 74548 h 98297"/>
              <a:gd name="connsiteX17" fmla="*/ 109601 w 125095"/>
              <a:gd name="connsiteY17" fmla="*/ 65404 h 98297"/>
              <a:gd name="connsiteX18" fmla="*/ 97790 w 125095"/>
              <a:gd name="connsiteY18" fmla="*/ 65277 h 98297"/>
              <a:gd name="connsiteX19" fmla="*/ 28448 w 125095"/>
              <a:gd name="connsiteY19" fmla="*/ 74040 h 98297"/>
              <a:gd name="connsiteX20" fmla="*/ 16129 w 125095"/>
              <a:gd name="connsiteY20" fmla="*/ 77850 h 98297"/>
              <a:gd name="connsiteX21" fmla="*/ 13716 w 125095"/>
              <a:gd name="connsiteY21" fmla="*/ 87502 h 98297"/>
              <a:gd name="connsiteX22" fmla="*/ 14224 w 125095"/>
              <a:gd name="connsiteY22" fmla="*/ 91566 h 98297"/>
              <a:gd name="connsiteX23" fmla="*/ 11303 w 125095"/>
              <a:gd name="connsiteY23" fmla="*/ 91947 h 9829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</a:cxnLst>
            <a:rect l="l" t="t" r="r" b="b"/>
            <a:pathLst>
              <a:path w="125095" h="98297">
                <a:moveTo>
                  <a:pt x="11303" y="91947"/>
                </a:moveTo>
                <a:lnTo>
                  <a:pt x="6350" y="52577"/>
                </a:lnTo>
                <a:cubicBezTo>
                  <a:pt x="5080" y="42925"/>
                  <a:pt x="5080" y="35178"/>
                  <a:pt x="6350" y="29463"/>
                </a:cubicBezTo>
                <a:cubicBezTo>
                  <a:pt x="7620" y="23621"/>
                  <a:pt x="10414" y="18541"/>
                  <a:pt x="14605" y="14096"/>
                </a:cubicBezTo>
                <a:cubicBezTo>
                  <a:pt x="18796" y="9778"/>
                  <a:pt x="24130" y="7111"/>
                  <a:pt x="30607" y="6350"/>
                </a:cubicBezTo>
                <a:cubicBezTo>
                  <a:pt x="39370" y="5206"/>
                  <a:pt x="46863" y="7111"/>
                  <a:pt x="53086" y="12191"/>
                </a:cubicBezTo>
                <a:cubicBezTo>
                  <a:pt x="59309" y="17271"/>
                  <a:pt x="63119" y="25145"/>
                  <a:pt x="64516" y="35686"/>
                </a:cubicBezTo>
                <a:cubicBezTo>
                  <a:pt x="64770" y="38226"/>
                  <a:pt x="64897" y="41147"/>
                  <a:pt x="65024" y="44195"/>
                </a:cubicBezTo>
                <a:cubicBezTo>
                  <a:pt x="65024" y="47244"/>
                  <a:pt x="64897" y="50545"/>
                  <a:pt x="64516" y="53975"/>
                </a:cubicBezTo>
                <a:lnTo>
                  <a:pt x="95758" y="50037"/>
                </a:lnTo>
                <a:cubicBezTo>
                  <a:pt x="102616" y="49148"/>
                  <a:pt x="106680" y="47878"/>
                  <a:pt x="108077" y="46227"/>
                </a:cubicBezTo>
                <a:cubicBezTo>
                  <a:pt x="110236" y="43941"/>
                  <a:pt x="110998" y="40766"/>
                  <a:pt x="110490" y="36702"/>
                </a:cubicBezTo>
                <a:lnTo>
                  <a:pt x="109982" y="32511"/>
                </a:lnTo>
                <a:lnTo>
                  <a:pt x="112903" y="32130"/>
                </a:lnTo>
                <a:lnTo>
                  <a:pt x="118745" y="78231"/>
                </a:lnTo>
                <a:lnTo>
                  <a:pt x="115824" y="78612"/>
                </a:lnTo>
                <a:lnTo>
                  <a:pt x="115316" y="74548"/>
                </a:lnTo>
                <a:cubicBezTo>
                  <a:pt x="114681" y="69976"/>
                  <a:pt x="112776" y="66928"/>
                  <a:pt x="109601" y="65404"/>
                </a:cubicBezTo>
                <a:cubicBezTo>
                  <a:pt x="107823" y="64515"/>
                  <a:pt x="103886" y="64515"/>
                  <a:pt x="97790" y="65277"/>
                </a:cubicBezTo>
                <a:lnTo>
                  <a:pt x="28448" y="74040"/>
                </a:lnTo>
                <a:cubicBezTo>
                  <a:pt x="21590" y="74929"/>
                  <a:pt x="17526" y="76200"/>
                  <a:pt x="16129" y="77850"/>
                </a:cubicBezTo>
                <a:cubicBezTo>
                  <a:pt x="13970" y="80136"/>
                  <a:pt x="13208" y="83438"/>
                  <a:pt x="13716" y="87502"/>
                </a:cubicBezTo>
                <a:lnTo>
                  <a:pt x="14224" y="91566"/>
                </a:lnTo>
                <a:lnTo>
                  <a:pt x="11303" y="91947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59" name="Freeform 3"/>
          <p:cNvSpPr/>
          <p:nvPr/>
        </p:nvSpPr>
        <p:spPr>
          <a:xfrm>
            <a:off x="1869455" y="3494046"/>
            <a:ext cx="128821" cy="120862"/>
          </a:xfrm>
          <a:custGeom>
            <a:avLst/>
            <a:gdLst>
              <a:gd name="connsiteX0" fmla="*/ 19177 w 131445"/>
              <a:gd name="connsiteY0" fmla="*/ 116967 h 123317"/>
              <a:gd name="connsiteX1" fmla="*/ 14097 w 131445"/>
              <a:gd name="connsiteY1" fmla="*/ 73279 h 123317"/>
              <a:gd name="connsiteX2" fmla="*/ 17017 w 131445"/>
              <a:gd name="connsiteY2" fmla="*/ 73025 h 123317"/>
              <a:gd name="connsiteX3" fmla="*/ 24638 w 131445"/>
              <a:gd name="connsiteY3" fmla="*/ 83692 h 123317"/>
              <a:gd name="connsiteX4" fmla="*/ 42417 w 131445"/>
              <a:gd name="connsiteY4" fmla="*/ 73025 h 123317"/>
              <a:gd name="connsiteX5" fmla="*/ 80899 w 131445"/>
              <a:gd name="connsiteY5" fmla="*/ 44704 h 123317"/>
              <a:gd name="connsiteX6" fmla="*/ 37719 w 131445"/>
              <a:gd name="connsiteY6" fmla="*/ 32511 h 123317"/>
              <a:gd name="connsiteX7" fmla="*/ 19685 w 131445"/>
              <a:gd name="connsiteY7" fmla="*/ 29083 h 123317"/>
              <a:gd name="connsiteX8" fmla="*/ 13208 w 131445"/>
              <a:gd name="connsiteY8" fmla="*/ 40004 h 123317"/>
              <a:gd name="connsiteX9" fmla="*/ 10286 w 131445"/>
              <a:gd name="connsiteY9" fmla="*/ 40386 h 123317"/>
              <a:gd name="connsiteX10" fmla="*/ 6350 w 131445"/>
              <a:gd name="connsiteY10" fmla="*/ 6604 h 123317"/>
              <a:gd name="connsiteX11" fmla="*/ 9270 w 131445"/>
              <a:gd name="connsiteY11" fmla="*/ 6350 h 123317"/>
              <a:gd name="connsiteX12" fmla="*/ 27558 w 131445"/>
              <a:gd name="connsiteY12" fmla="*/ 22479 h 123317"/>
              <a:gd name="connsiteX13" fmla="*/ 78739 w 131445"/>
              <a:gd name="connsiteY13" fmla="*/ 37338 h 123317"/>
              <a:gd name="connsiteX14" fmla="*/ 107061 w 131445"/>
              <a:gd name="connsiteY14" fmla="*/ 47117 h 123317"/>
              <a:gd name="connsiteX15" fmla="*/ 119888 w 131445"/>
              <a:gd name="connsiteY15" fmla="*/ 56769 h 123317"/>
              <a:gd name="connsiteX16" fmla="*/ 125095 w 131445"/>
              <a:gd name="connsiteY16" fmla="*/ 68579 h 123317"/>
              <a:gd name="connsiteX17" fmla="*/ 123825 w 131445"/>
              <a:gd name="connsiteY17" fmla="*/ 78104 h 123317"/>
              <a:gd name="connsiteX18" fmla="*/ 117855 w 131445"/>
              <a:gd name="connsiteY18" fmla="*/ 82550 h 123317"/>
              <a:gd name="connsiteX19" fmla="*/ 112776 w 131445"/>
              <a:gd name="connsiteY19" fmla="*/ 81153 h 123317"/>
              <a:gd name="connsiteX20" fmla="*/ 110108 w 131445"/>
              <a:gd name="connsiteY20" fmla="*/ 75946 h 123317"/>
              <a:gd name="connsiteX21" fmla="*/ 111886 w 131445"/>
              <a:gd name="connsiteY21" fmla="*/ 67691 h 123317"/>
              <a:gd name="connsiteX22" fmla="*/ 113030 w 131445"/>
              <a:gd name="connsiteY22" fmla="*/ 62865 h 123317"/>
              <a:gd name="connsiteX23" fmla="*/ 98425 w 131445"/>
              <a:gd name="connsiteY23" fmla="*/ 50292 h 123317"/>
              <a:gd name="connsiteX24" fmla="*/ 34417 w 131445"/>
              <a:gd name="connsiteY24" fmla="*/ 97409 h 123317"/>
              <a:gd name="connsiteX25" fmla="*/ 25019 w 131445"/>
              <a:gd name="connsiteY25" fmla="*/ 106426 h 123317"/>
              <a:gd name="connsiteX26" fmla="*/ 22098 w 131445"/>
              <a:gd name="connsiteY26" fmla="*/ 116586 h 123317"/>
              <a:gd name="connsiteX27" fmla="*/ 19177 w 131445"/>
              <a:gd name="connsiteY27" fmla="*/ 116967 h 12331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</a:cxnLst>
            <a:rect l="l" t="t" r="r" b="b"/>
            <a:pathLst>
              <a:path w="131445" h="123317">
                <a:moveTo>
                  <a:pt x="19177" y="116967"/>
                </a:moveTo>
                <a:lnTo>
                  <a:pt x="14097" y="73279"/>
                </a:lnTo>
                <a:lnTo>
                  <a:pt x="17017" y="73025"/>
                </a:lnTo>
                <a:cubicBezTo>
                  <a:pt x="18288" y="80645"/>
                  <a:pt x="20827" y="84201"/>
                  <a:pt x="24638" y="83692"/>
                </a:cubicBezTo>
                <a:cubicBezTo>
                  <a:pt x="27305" y="83439"/>
                  <a:pt x="33274" y="79883"/>
                  <a:pt x="42417" y="73025"/>
                </a:cubicBezTo>
                <a:lnTo>
                  <a:pt x="80899" y="44704"/>
                </a:lnTo>
                <a:lnTo>
                  <a:pt x="37719" y="32511"/>
                </a:lnTo>
                <a:cubicBezTo>
                  <a:pt x="28575" y="29845"/>
                  <a:pt x="22605" y="28702"/>
                  <a:pt x="19685" y="29083"/>
                </a:cubicBezTo>
                <a:cubicBezTo>
                  <a:pt x="15494" y="29591"/>
                  <a:pt x="13335" y="33273"/>
                  <a:pt x="13208" y="40004"/>
                </a:cubicBezTo>
                <a:lnTo>
                  <a:pt x="10286" y="40386"/>
                </a:lnTo>
                <a:lnTo>
                  <a:pt x="6350" y="6604"/>
                </a:lnTo>
                <a:lnTo>
                  <a:pt x="9270" y="6350"/>
                </a:lnTo>
                <a:cubicBezTo>
                  <a:pt x="11176" y="14097"/>
                  <a:pt x="17272" y="19558"/>
                  <a:pt x="27558" y="22479"/>
                </a:cubicBezTo>
                <a:lnTo>
                  <a:pt x="78739" y="37338"/>
                </a:lnTo>
                <a:cubicBezTo>
                  <a:pt x="91948" y="41148"/>
                  <a:pt x="101345" y="44450"/>
                  <a:pt x="107061" y="47117"/>
                </a:cubicBezTo>
                <a:cubicBezTo>
                  <a:pt x="112649" y="49911"/>
                  <a:pt x="116967" y="53086"/>
                  <a:pt x="119888" y="56769"/>
                </a:cubicBezTo>
                <a:cubicBezTo>
                  <a:pt x="122808" y="60325"/>
                  <a:pt x="124586" y="64261"/>
                  <a:pt x="125095" y="68579"/>
                </a:cubicBezTo>
                <a:cubicBezTo>
                  <a:pt x="125476" y="72136"/>
                  <a:pt x="125095" y="75311"/>
                  <a:pt x="123825" y="78104"/>
                </a:cubicBezTo>
                <a:cubicBezTo>
                  <a:pt x="122555" y="80772"/>
                  <a:pt x="120523" y="82296"/>
                  <a:pt x="117855" y="82550"/>
                </a:cubicBezTo>
                <a:cubicBezTo>
                  <a:pt x="115824" y="82804"/>
                  <a:pt x="114173" y="82296"/>
                  <a:pt x="112776" y="81153"/>
                </a:cubicBezTo>
                <a:cubicBezTo>
                  <a:pt x="111252" y="80010"/>
                  <a:pt x="110363" y="78232"/>
                  <a:pt x="110108" y="75946"/>
                </a:cubicBezTo>
                <a:cubicBezTo>
                  <a:pt x="109855" y="73786"/>
                  <a:pt x="110489" y="70992"/>
                  <a:pt x="111886" y="67691"/>
                </a:cubicBezTo>
                <a:cubicBezTo>
                  <a:pt x="112776" y="65532"/>
                  <a:pt x="113157" y="63880"/>
                  <a:pt x="113030" y="62865"/>
                </a:cubicBezTo>
                <a:cubicBezTo>
                  <a:pt x="112522" y="58673"/>
                  <a:pt x="107695" y="54483"/>
                  <a:pt x="98425" y="50292"/>
                </a:cubicBezTo>
                <a:lnTo>
                  <a:pt x="34417" y="97409"/>
                </a:lnTo>
                <a:cubicBezTo>
                  <a:pt x="29845" y="100711"/>
                  <a:pt x="26797" y="103759"/>
                  <a:pt x="25019" y="106426"/>
                </a:cubicBezTo>
                <a:cubicBezTo>
                  <a:pt x="23367" y="109092"/>
                  <a:pt x="22352" y="112522"/>
                  <a:pt x="22098" y="116586"/>
                </a:cubicBezTo>
                <a:lnTo>
                  <a:pt x="19177" y="116967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60" name="Freeform 3"/>
          <p:cNvSpPr/>
          <p:nvPr/>
        </p:nvSpPr>
        <p:spPr>
          <a:xfrm>
            <a:off x="1868708" y="3422227"/>
            <a:ext cx="112018" cy="64601"/>
          </a:xfrm>
          <a:custGeom>
            <a:avLst/>
            <a:gdLst>
              <a:gd name="connsiteX0" fmla="*/ 9651 w 114300"/>
              <a:gd name="connsiteY0" fmla="*/ 47244 h 65913"/>
              <a:gd name="connsiteX1" fmla="*/ 76580 w 114300"/>
              <a:gd name="connsiteY1" fmla="*/ 47752 h 65913"/>
              <a:gd name="connsiteX2" fmla="*/ 107950 w 114300"/>
              <a:gd name="connsiteY2" fmla="*/ 59563 h 65913"/>
              <a:gd name="connsiteX3" fmla="*/ 103758 w 114300"/>
              <a:gd name="connsiteY3" fmla="*/ 19684 h 65913"/>
              <a:gd name="connsiteX4" fmla="*/ 100583 w 114300"/>
              <a:gd name="connsiteY4" fmla="*/ 7239 h 65913"/>
              <a:gd name="connsiteX5" fmla="*/ 88264 w 114300"/>
              <a:gd name="connsiteY5" fmla="*/ 6350 h 65913"/>
              <a:gd name="connsiteX6" fmla="*/ 6350 w 114300"/>
              <a:gd name="connsiteY6" fmla="*/ 14985 h 65913"/>
              <a:gd name="connsiteX7" fmla="*/ 9651 w 114300"/>
              <a:gd name="connsiteY7" fmla="*/ 47244 h 6591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114300" h="65913">
                <a:moveTo>
                  <a:pt x="9651" y="47244"/>
                </a:moveTo>
                <a:cubicBezTo>
                  <a:pt x="41275" y="45211"/>
                  <a:pt x="63500" y="45465"/>
                  <a:pt x="76580" y="47752"/>
                </a:cubicBezTo>
                <a:cubicBezTo>
                  <a:pt x="89535" y="50165"/>
                  <a:pt x="100076" y="54102"/>
                  <a:pt x="107950" y="59563"/>
                </a:cubicBezTo>
                <a:lnTo>
                  <a:pt x="103758" y="19684"/>
                </a:lnTo>
                <a:cubicBezTo>
                  <a:pt x="102997" y="12700"/>
                  <a:pt x="101980" y="8508"/>
                  <a:pt x="100583" y="7239"/>
                </a:cubicBezTo>
                <a:cubicBezTo>
                  <a:pt x="99186" y="5969"/>
                  <a:pt x="95123" y="5588"/>
                  <a:pt x="88264" y="6350"/>
                </a:cubicBezTo>
                <a:lnTo>
                  <a:pt x="6350" y="14985"/>
                </a:lnTo>
                <a:lnTo>
                  <a:pt x="9651" y="4724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61" name="Freeform 3"/>
          <p:cNvSpPr/>
          <p:nvPr/>
        </p:nvSpPr>
        <p:spPr>
          <a:xfrm>
            <a:off x="1859747" y="3387624"/>
            <a:ext cx="159190" cy="118994"/>
          </a:xfrm>
          <a:custGeom>
            <a:avLst/>
            <a:gdLst>
              <a:gd name="connsiteX0" fmla="*/ 15748 w 162433"/>
              <a:gd name="connsiteY0" fmla="*/ 108965 h 121411"/>
              <a:gd name="connsiteX1" fmla="*/ 6350 w 162433"/>
              <a:gd name="connsiteY1" fmla="*/ 20192 h 121411"/>
              <a:gd name="connsiteX2" fmla="*/ 9270 w 162433"/>
              <a:gd name="connsiteY2" fmla="*/ 19811 h 121411"/>
              <a:gd name="connsiteX3" fmla="*/ 13842 w 162433"/>
              <a:gd name="connsiteY3" fmla="*/ 32258 h 121411"/>
              <a:gd name="connsiteX4" fmla="*/ 27558 w 162433"/>
              <a:gd name="connsiteY4" fmla="*/ 33654 h 121411"/>
              <a:gd name="connsiteX5" fmla="*/ 87248 w 162433"/>
              <a:gd name="connsiteY5" fmla="*/ 27432 h 121411"/>
              <a:gd name="connsiteX6" fmla="*/ 108458 w 162433"/>
              <a:gd name="connsiteY6" fmla="*/ 23240 h 121411"/>
              <a:gd name="connsiteX7" fmla="*/ 111125 w 162433"/>
              <a:gd name="connsiteY7" fmla="*/ 9905 h 121411"/>
              <a:gd name="connsiteX8" fmla="*/ 145033 w 162433"/>
              <a:gd name="connsiteY8" fmla="*/ 6350 h 121411"/>
              <a:gd name="connsiteX9" fmla="*/ 145288 w 162433"/>
              <a:gd name="connsiteY9" fmla="*/ 9016 h 121411"/>
              <a:gd name="connsiteX10" fmla="*/ 127254 w 162433"/>
              <a:gd name="connsiteY10" fmla="*/ 18669 h 121411"/>
              <a:gd name="connsiteX11" fmla="*/ 118872 w 162433"/>
              <a:gd name="connsiteY11" fmla="*/ 31622 h 121411"/>
              <a:gd name="connsiteX12" fmla="*/ 118110 w 162433"/>
              <a:gd name="connsiteY12" fmla="*/ 48005 h 121411"/>
              <a:gd name="connsiteX13" fmla="*/ 121030 w 162433"/>
              <a:gd name="connsiteY13" fmla="*/ 75438 h 121411"/>
              <a:gd name="connsiteX14" fmla="*/ 133604 w 162433"/>
              <a:gd name="connsiteY14" fmla="*/ 100964 h 121411"/>
              <a:gd name="connsiteX15" fmla="*/ 155829 w 162433"/>
              <a:gd name="connsiteY15" fmla="*/ 108839 h 121411"/>
              <a:gd name="connsiteX16" fmla="*/ 156083 w 162433"/>
              <a:gd name="connsiteY16" fmla="*/ 111505 h 121411"/>
              <a:gd name="connsiteX17" fmla="*/ 122173 w 162433"/>
              <a:gd name="connsiteY17" fmla="*/ 115061 h 121411"/>
              <a:gd name="connsiteX18" fmla="*/ 104648 w 162433"/>
              <a:gd name="connsiteY18" fmla="*/ 95884 h 121411"/>
              <a:gd name="connsiteX19" fmla="*/ 68580 w 162433"/>
              <a:gd name="connsiteY19" fmla="*/ 88391 h 121411"/>
              <a:gd name="connsiteX20" fmla="*/ 34417 w 162433"/>
              <a:gd name="connsiteY20" fmla="*/ 88900 h 121411"/>
              <a:gd name="connsiteX21" fmla="*/ 22860 w 162433"/>
              <a:gd name="connsiteY21" fmla="*/ 92075 h 121411"/>
              <a:gd name="connsiteX22" fmla="*/ 18669 w 162433"/>
              <a:gd name="connsiteY22" fmla="*/ 97282 h 121411"/>
              <a:gd name="connsiteX23" fmla="*/ 18669 w 162433"/>
              <a:gd name="connsiteY23" fmla="*/ 108711 h 121411"/>
              <a:gd name="connsiteX24" fmla="*/ 15748 w 162433"/>
              <a:gd name="connsiteY24" fmla="*/ 108965 h 12141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</a:cxnLst>
            <a:rect l="l" t="t" r="r" b="b"/>
            <a:pathLst>
              <a:path w="162433" h="121411">
                <a:moveTo>
                  <a:pt x="15748" y="108965"/>
                </a:moveTo>
                <a:lnTo>
                  <a:pt x="6350" y="20192"/>
                </a:lnTo>
                <a:lnTo>
                  <a:pt x="9270" y="19811"/>
                </a:lnTo>
                <a:cubicBezTo>
                  <a:pt x="10160" y="26542"/>
                  <a:pt x="11683" y="30607"/>
                  <a:pt x="13842" y="32258"/>
                </a:cubicBezTo>
                <a:cubicBezTo>
                  <a:pt x="15875" y="33908"/>
                  <a:pt x="20573" y="34416"/>
                  <a:pt x="27558" y="33654"/>
                </a:cubicBezTo>
                <a:lnTo>
                  <a:pt x="87248" y="27432"/>
                </a:lnTo>
                <a:cubicBezTo>
                  <a:pt x="98805" y="26161"/>
                  <a:pt x="105791" y="24764"/>
                  <a:pt x="108458" y="23240"/>
                </a:cubicBezTo>
                <a:cubicBezTo>
                  <a:pt x="110998" y="21589"/>
                  <a:pt x="111886" y="17145"/>
                  <a:pt x="111125" y="9905"/>
                </a:cubicBezTo>
                <a:lnTo>
                  <a:pt x="145033" y="6350"/>
                </a:lnTo>
                <a:lnTo>
                  <a:pt x="145288" y="9016"/>
                </a:lnTo>
                <a:cubicBezTo>
                  <a:pt x="137667" y="11429"/>
                  <a:pt x="131572" y="14604"/>
                  <a:pt x="127254" y="18669"/>
                </a:cubicBezTo>
                <a:cubicBezTo>
                  <a:pt x="122808" y="22733"/>
                  <a:pt x="120014" y="27051"/>
                  <a:pt x="118872" y="31622"/>
                </a:cubicBezTo>
                <a:cubicBezTo>
                  <a:pt x="117729" y="36321"/>
                  <a:pt x="117475" y="41783"/>
                  <a:pt x="118110" y="48005"/>
                </a:cubicBezTo>
                <a:lnTo>
                  <a:pt x="121030" y="75438"/>
                </a:lnTo>
                <a:cubicBezTo>
                  <a:pt x="122301" y="87502"/>
                  <a:pt x="126492" y="96011"/>
                  <a:pt x="133604" y="100964"/>
                </a:cubicBezTo>
                <a:cubicBezTo>
                  <a:pt x="140716" y="105917"/>
                  <a:pt x="148082" y="108458"/>
                  <a:pt x="155829" y="108839"/>
                </a:cubicBezTo>
                <a:lnTo>
                  <a:pt x="156083" y="111505"/>
                </a:lnTo>
                <a:lnTo>
                  <a:pt x="122173" y="115061"/>
                </a:lnTo>
                <a:cubicBezTo>
                  <a:pt x="120523" y="106679"/>
                  <a:pt x="114680" y="100202"/>
                  <a:pt x="104648" y="95884"/>
                </a:cubicBezTo>
                <a:cubicBezTo>
                  <a:pt x="94614" y="91566"/>
                  <a:pt x="82676" y="89027"/>
                  <a:pt x="68580" y="88391"/>
                </a:cubicBezTo>
                <a:cubicBezTo>
                  <a:pt x="54610" y="87883"/>
                  <a:pt x="43180" y="88010"/>
                  <a:pt x="34417" y="88900"/>
                </a:cubicBezTo>
                <a:cubicBezTo>
                  <a:pt x="29083" y="89408"/>
                  <a:pt x="25273" y="90551"/>
                  <a:pt x="22860" y="92075"/>
                </a:cubicBezTo>
                <a:cubicBezTo>
                  <a:pt x="20573" y="93726"/>
                  <a:pt x="19176" y="95503"/>
                  <a:pt x="18669" y="97282"/>
                </a:cubicBezTo>
                <a:cubicBezTo>
                  <a:pt x="18288" y="99186"/>
                  <a:pt x="18288" y="102996"/>
                  <a:pt x="18669" y="108711"/>
                </a:cubicBezTo>
                <a:lnTo>
                  <a:pt x="15748" y="108965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62" name="Freeform 3"/>
          <p:cNvSpPr/>
          <p:nvPr/>
        </p:nvSpPr>
        <p:spPr>
          <a:xfrm>
            <a:off x="1876302" y="3320906"/>
            <a:ext cx="56880" cy="48793"/>
          </a:xfrm>
          <a:custGeom>
            <a:avLst/>
            <a:gdLst>
              <a:gd name="connsiteX0" fmla="*/ 6350 w 58039"/>
              <a:gd name="connsiteY0" fmla="*/ 28575 h 49784"/>
              <a:gd name="connsiteX1" fmla="*/ 51689 w 58039"/>
              <a:gd name="connsiteY1" fmla="*/ 43434 h 49784"/>
              <a:gd name="connsiteX2" fmla="*/ 48260 w 58039"/>
              <a:gd name="connsiteY2" fmla="*/ 6350 h 49784"/>
              <a:gd name="connsiteX3" fmla="*/ 6350 w 58039"/>
              <a:gd name="connsiteY3" fmla="*/ 28575 h 4978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</a:cxnLst>
            <a:rect l="l" t="t" r="r" b="b"/>
            <a:pathLst>
              <a:path w="58039" h="49784">
                <a:moveTo>
                  <a:pt x="6350" y="28575"/>
                </a:moveTo>
                <a:lnTo>
                  <a:pt x="51689" y="43434"/>
                </a:lnTo>
                <a:lnTo>
                  <a:pt x="48260" y="6350"/>
                </a:lnTo>
                <a:lnTo>
                  <a:pt x="6350" y="28575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63" name="Freeform 3"/>
          <p:cNvSpPr/>
          <p:nvPr/>
        </p:nvSpPr>
        <p:spPr>
          <a:xfrm>
            <a:off x="1851532" y="3274478"/>
            <a:ext cx="125834" cy="124970"/>
          </a:xfrm>
          <a:custGeom>
            <a:avLst/>
            <a:gdLst>
              <a:gd name="connsiteX0" fmla="*/ 6604 w 128397"/>
              <a:gd name="connsiteY0" fmla="*/ 75310 h 127508"/>
              <a:gd name="connsiteX1" fmla="*/ 6350 w 128397"/>
              <a:gd name="connsiteY1" fmla="*/ 72516 h 127508"/>
              <a:gd name="connsiteX2" fmla="*/ 92583 w 128397"/>
              <a:gd name="connsiteY2" fmla="*/ 26796 h 127508"/>
              <a:gd name="connsiteX3" fmla="*/ 105918 w 128397"/>
              <a:gd name="connsiteY3" fmla="*/ 17271 h 127508"/>
              <a:gd name="connsiteX4" fmla="*/ 108585 w 128397"/>
              <a:gd name="connsiteY4" fmla="*/ 6603 h 127508"/>
              <a:gd name="connsiteX5" fmla="*/ 111505 w 128397"/>
              <a:gd name="connsiteY5" fmla="*/ 6350 h 127508"/>
              <a:gd name="connsiteX6" fmla="*/ 115443 w 128397"/>
              <a:gd name="connsiteY6" fmla="*/ 48895 h 127508"/>
              <a:gd name="connsiteX7" fmla="*/ 112522 w 128397"/>
              <a:gd name="connsiteY7" fmla="*/ 49148 h 127508"/>
              <a:gd name="connsiteX8" fmla="*/ 109474 w 128397"/>
              <a:gd name="connsiteY8" fmla="*/ 40639 h 127508"/>
              <a:gd name="connsiteX9" fmla="*/ 104902 w 128397"/>
              <a:gd name="connsiteY9" fmla="*/ 38861 h 127508"/>
              <a:gd name="connsiteX10" fmla="*/ 94107 w 128397"/>
              <a:gd name="connsiteY10" fmla="*/ 43052 h 127508"/>
              <a:gd name="connsiteX11" fmla="*/ 79248 w 128397"/>
              <a:gd name="connsiteY11" fmla="*/ 50926 h 127508"/>
              <a:gd name="connsiteX12" fmla="*/ 83058 w 128397"/>
              <a:gd name="connsiteY12" fmla="*/ 92709 h 127508"/>
              <a:gd name="connsiteX13" fmla="*/ 100711 w 128397"/>
              <a:gd name="connsiteY13" fmla="*/ 98425 h 127508"/>
              <a:gd name="connsiteX14" fmla="*/ 110363 w 128397"/>
              <a:gd name="connsiteY14" fmla="*/ 100329 h 127508"/>
              <a:gd name="connsiteX15" fmla="*/ 114427 w 128397"/>
              <a:gd name="connsiteY15" fmla="*/ 97535 h 127508"/>
              <a:gd name="connsiteX16" fmla="*/ 115951 w 128397"/>
              <a:gd name="connsiteY16" fmla="*/ 87121 h 127508"/>
              <a:gd name="connsiteX17" fmla="*/ 118872 w 128397"/>
              <a:gd name="connsiteY17" fmla="*/ 86867 h 127508"/>
              <a:gd name="connsiteX18" fmla="*/ 122047 w 128397"/>
              <a:gd name="connsiteY18" fmla="*/ 120903 h 127508"/>
              <a:gd name="connsiteX19" fmla="*/ 119126 w 128397"/>
              <a:gd name="connsiteY19" fmla="*/ 121157 h 127508"/>
              <a:gd name="connsiteX20" fmla="*/ 115189 w 128397"/>
              <a:gd name="connsiteY20" fmla="*/ 112648 h 127508"/>
              <a:gd name="connsiteX21" fmla="*/ 98805 w 128397"/>
              <a:gd name="connsiteY21" fmla="*/ 105155 h 127508"/>
              <a:gd name="connsiteX22" fmla="*/ 6604 w 128397"/>
              <a:gd name="connsiteY22" fmla="*/ 75310 h 12750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</a:cxnLst>
            <a:rect l="l" t="t" r="r" b="b"/>
            <a:pathLst>
              <a:path w="128397" h="127508">
                <a:moveTo>
                  <a:pt x="6604" y="75310"/>
                </a:moveTo>
                <a:lnTo>
                  <a:pt x="6350" y="72516"/>
                </a:lnTo>
                <a:lnTo>
                  <a:pt x="92583" y="26796"/>
                </a:lnTo>
                <a:cubicBezTo>
                  <a:pt x="99568" y="23114"/>
                  <a:pt x="104013" y="19939"/>
                  <a:pt x="105918" y="17271"/>
                </a:cubicBezTo>
                <a:cubicBezTo>
                  <a:pt x="107823" y="14604"/>
                  <a:pt x="108712" y="11048"/>
                  <a:pt x="108585" y="6603"/>
                </a:cubicBezTo>
                <a:lnTo>
                  <a:pt x="111505" y="6350"/>
                </a:lnTo>
                <a:lnTo>
                  <a:pt x="115443" y="48895"/>
                </a:lnTo>
                <a:lnTo>
                  <a:pt x="112522" y="49148"/>
                </a:lnTo>
                <a:cubicBezTo>
                  <a:pt x="111887" y="44957"/>
                  <a:pt x="110871" y="42036"/>
                  <a:pt x="109474" y="40639"/>
                </a:cubicBezTo>
                <a:cubicBezTo>
                  <a:pt x="108204" y="39242"/>
                  <a:pt x="106680" y="38607"/>
                  <a:pt x="104902" y="38861"/>
                </a:cubicBezTo>
                <a:cubicBezTo>
                  <a:pt x="102489" y="38989"/>
                  <a:pt x="98933" y="40385"/>
                  <a:pt x="94107" y="43052"/>
                </a:cubicBezTo>
                <a:lnTo>
                  <a:pt x="79248" y="50926"/>
                </a:lnTo>
                <a:lnTo>
                  <a:pt x="83058" y="92709"/>
                </a:lnTo>
                <a:lnTo>
                  <a:pt x="100711" y="98425"/>
                </a:lnTo>
                <a:cubicBezTo>
                  <a:pt x="105029" y="99821"/>
                  <a:pt x="108330" y="100457"/>
                  <a:pt x="110363" y="100329"/>
                </a:cubicBezTo>
                <a:cubicBezTo>
                  <a:pt x="112014" y="100076"/>
                  <a:pt x="113411" y="99186"/>
                  <a:pt x="114427" y="97535"/>
                </a:cubicBezTo>
                <a:cubicBezTo>
                  <a:pt x="115570" y="95884"/>
                  <a:pt x="116077" y="92455"/>
                  <a:pt x="115951" y="87121"/>
                </a:cubicBezTo>
                <a:lnTo>
                  <a:pt x="118872" y="86867"/>
                </a:lnTo>
                <a:lnTo>
                  <a:pt x="122047" y="120903"/>
                </a:lnTo>
                <a:lnTo>
                  <a:pt x="119126" y="121157"/>
                </a:lnTo>
                <a:cubicBezTo>
                  <a:pt x="117855" y="116713"/>
                  <a:pt x="116586" y="113919"/>
                  <a:pt x="115189" y="112648"/>
                </a:cubicBezTo>
                <a:cubicBezTo>
                  <a:pt x="112395" y="110235"/>
                  <a:pt x="106933" y="107695"/>
                  <a:pt x="98805" y="105155"/>
                </a:cubicBezTo>
                <a:lnTo>
                  <a:pt x="6604" y="7531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64" name="Freeform 3"/>
          <p:cNvSpPr/>
          <p:nvPr/>
        </p:nvSpPr>
        <p:spPr>
          <a:xfrm>
            <a:off x="7195911" y="2642286"/>
            <a:ext cx="111396" cy="97710"/>
          </a:xfrm>
          <a:custGeom>
            <a:avLst/>
            <a:gdLst>
              <a:gd name="connsiteX0" fmla="*/ 97663 w 113665"/>
              <a:gd name="connsiteY0" fmla="*/ 37211 h 99695"/>
              <a:gd name="connsiteX1" fmla="*/ 99059 w 113665"/>
              <a:gd name="connsiteY1" fmla="*/ 57276 h 99695"/>
              <a:gd name="connsiteX2" fmla="*/ 98932 w 113665"/>
              <a:gd name="connsiteY2" fmla="*/ 61595 h 99695"/>
              <a:gd name="connsiteX3" fmla="*/ 101091 w 113665"/>
              <a:gd name="connsiteY3" fmla="*/ 64261 h 99695"/>
              <a:gd name="connsiteX4" fmla="*/ 106679 w 113665"/>
              <a:gd name="connsiteY4" fmla="*/ 65023 h 99695"/>
              <a:gd name="connsiteX5" fmla="*/ 107314 w 113665"/>
              <a:gd name="connsiteY5" fmla="*/ 67310 h 99695"/>
              <a:gd name="connsiteX6" fmla="*/ 78485 w 113665"/>
              <a:gd name="connsiteY6" fmla="*/ 78739 h 99695"/>
              <a:gd name="connsiteX7" fmla="*/ 77851 w 113665"/>
              <a:gd name="connsiteY7" fmla="*/ 76835 h 99695"/>
              <a:gd name="connsiteX8" fmla="*/ 93217 w 113665"/>
              <a:gd name="connsiteY8" fmla="*/ 59308 h 99695"/>
              <a:gd name="connsiteX9" fmla="*/ 93344 w 113665"/>
              <a:gd name="connsiteY9" fmla="*/ 39751 h 99695"/>
              <a:gd name="connsiteX10" fmla="*/ 83946 w 113665"/>
              <a:gd name="connsiteY10" fmla="*/ 25654 h 99695"/>
              <a:gd name="connsiteX11" fmla="*/ 66420 w 113665"/>
              <a:gd name="connsiteY11" fmla="*/ 19176 h 99695"/>
              <a:gd name="connsiteX12" fmla="*/ 41275 w 113665"/>
              <a:gd name="connsiteY12" fmla="*/ 22860 h 99695"/>
              <a:gd name="connsiteX13" fmla="*/ 22097 w 113665"/>
              <a:gd name="connsiteY13" fmla="*/ 33273 h 99695"/>
              <a:gd name="connsiteX14" fmla="*/ 12572 w 113665"/>
              <a:gd name="connsiteY14" fmla="*/ 48895 h 99695"/>
              <a:gd name="connsiteX15" fmla="*/ 13588 w 113665"/>
              <a:gd name="connsiteY15" fmla="*/ 67691 h 99695"/>
              <a:gd name="connsiteX16" fmla="*/ 21970 w 113665"/>
              <a:gd name="connsiteY16" fmla="*/ 81407 h 99695"/>
              <a:gd name="connsiteX17" fmla="*/ 40893 w 113665"/>
              <a:gd name="connsiteY17" fmla="*/ 90932 h 99695"/>
              <a:gd name="connsiteX18" fmla="*/ 40258 w 113665"/>
              <a:gd name="connsiteY18" fmla="*/ 93345 h 99695"/>
              <a:gd name="connsiteX19" fmla="*/ 18414 w 113665"/>
              <a:gd name="connsiteY19" fmla="*/ 83566 h 99695"/>
              <a:gd name="connsiteX20" fmla="*/ 6350 w 113665"/>
              <a:gd name="connsiteY20" fmla="*/ 64642 h 99695"/>
              <a:gd name="connsiteX21" fmla="*/ 11556 w 113665"/>
              <a:gd name="connsiteY21" fmla="*/ 26161 h 99695"/>
              <a:gd name="connsiteX22" fmla="*/ 36702 w 113665"/>
              <a:gd name="connsiteY22" fmla="*/ 8254 h 99695"/>
              <a:gd name="connsiteX23" fmla="*/ 62483 w 113665"/>
              <a:gd name="connsiteY23" fmla="*/ 6350 h 99695"/>
              <a:gd name="connsiteX24" fmla="*/ 84454 w 113665"/>
              <a:gd name="connsiteY24" fmla="*/ 16891 h 99695"/>
              <a:gd name="connsiteX25" fmla="*/ 97663 w 113665"/>
              <a:gd name="connsiteY25" fmla="*/ 37211 h 9969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</a:cxnLst>
            <a:rect l="l" t="t" r="r" b="b"/>
            <a:pathLst>
              <a:path w="113665" h="99695">
                <a:moveTo>
                  <a:pt x="97663" y="37211"/>
                </a:moveTo>
                <a:cubicBezTo>
                  <a:pt x="99694" y="43561"/>
                  <a:pt x="100202" y="50164"/>
                  <a:pt x="99059" y="57276"/>
                </a:cubicBezTo>
                <a:cubicBezTo>
                  <a:pt x="98678" y="59436"/>
                  <a:pt x="98678" y="60833"/>
                  <a:pt x="98932" y="61595"/>
                </a:cubicBezTo>
                <a:cubicBezTo>
                  <a:pt x="99313" y="62738"/>
                  <a:pt x="99948" y="63626"/>
                  <a:pt x="101091" y="64261"/>
                </a:cubicBezTo>
                <a:cubicBezTo>
                  <a:pt x="102615" y="64897"/>
                  <a:pt x="104393" y="65277"/>
                  <a:pt x="106679" y="65023"/>
                </a:cubicBezTo>
                <a:lnTo>
                  <a:pt x="107314" y="67310"/>
                </a:lnTo>
                <a:lnTo>
                  <a:pt x="78485" y="78739"/>
                </a:lnTo>
                <a:lnTo>
                  <a:pt x="77851" y="76835"/>
                </a:lnTo>
                <a:cubicBezTo>
                  <a:pt x="85851" y="71247"/>
                  <a:pt x="90931" y="65532"/>
                  <a:pt x="93217" y="59308"/>
                </a:cubicBezTo>
                <a:cubicBezTo>
                  <a:pt x="95503" y="53213"/>
                  <a:pt x="95630" y="46608"/>
                  <a:pt x="93344" y="39751"/>
                </a:cubicBezTo>
                <a:cubicBezTo>
                  <a:pt x="91566" y="34036"/>
                  <a:pt x="88391" y="29336"/>
                  <a:pt x="83946" y="25654"/>
                </a:cubicBezTo>
                <a:cubicBezTo>
                  <a:pt x="79501" y="21844"/>
                  <a:pt x="73659" y="19685"/>
                  <a:pt x="66420" y="19176"/>
                </a:cubicBezTo>
                <a:cubicBezTo>
                  <a:pt x="59181" y="18542"/>
                  <a:pt x="50800" y="19811"/>
                  <a:pt x="41275" y="22860"/>
                </a:cubicBezTo>
                <a:cubicBezTo>
                  <a:pt x="33401" y="25400"/>
                  <a:pt x="27051" y="28829"/>
                  <a:pt x="22097" y="33273"/>
                </a:cubicBezTo>
                <a:cubicBezTo>
                  <a:pt x="17144" y="37592"/>
                  <a:pt x="13969" y="42798"/>
                  <a:pt x="12572" y="48895"/>
                </a:cubicBezTo>
                <a:cubicBezTo>
                  <a:pt x="11176" y="54864"/>
                  <a:pt x="11429" y="61086"/>
                  <a:pt x="13588" y="67691"/>
                </a:cubicBezTo>
                <a:cubicBezTo>
                  <a:pt x="15366" y="73279"/>
                  <a:pt x="18160" y="77851"/>
                  <a:pt x="21970" y="81407"/>
                </a:cubicBezTo>
                <a:cubicBezTo>
                  <a:pt x="25780" y="84836"/>
                  <a:pt x="32130" y="88138"/>
                  <a:pt x="40893" y="90932"/>
                </a:cubicBezTo>
                <a:lnTo>
                  <a:pt x="40258" y="93345"/>
                </a:lnTo>
                <a:cubicBezTo>
                  <a:pt x="31114" y="91439"/>
                  <a:pt x="23876" y="88264"/>
                  <a:pt x="18414" y="83566"/>
                </a:cubicBezTo>
                <a:cubicBezTo>
                  <a:pt x="12953" y="78994"/>
                  <a:pt x="8889" y="72644"/>
                  <a:pt x="6350" y="64642"/>
                </a:cubicBezTo>
                <a:cubicBezTo>
                  <a:pt x="1777" y="50292"/>
                  <a:pt x="3428" y="37464"/>
                  <a:pt x="11556" y="26161"/>
                </a:cubicBezTo>
                <a:cubicBezTo>
                  <a:pt x="17652" y="17652"/>
                  <a:pt x="26034" y="11683"/>
                  <a:pt x="36702" y="8254"/>
                </a:cubicBezTo>
                <a:cubicBezTo>
                  <a:pt x="45338" y="5461"/>
                  <a:pt x="53975" y="4826"/>
                  <a:pt x="62483" y="6350"/>
                </a:cubicBezTo>
                <a:cubicBezTo>
                  <a:pt x="70992" y="7873"/>
                  <a:pt x="78358" y="11429"/>
                  <a:pt x="84454" y="16891"/>
                </a:cubicBezTo>
                <a:cubicBezTo>
                  <a:pt x="90677" y="22479"/>
                  <a:pt x="94995" y="29210"/>
                  <a:pt x="97663" y="37211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65" name="Freeform 3"/>
          <p:cNvSpPr/>
          <p:nvPr/>
        </p:nvSpPr>
        <p:spPr>
          <a:xfrm>
            <a:off x="7215824" y="2716596"/>
            <a:ext cx="113512" cy="89619"/>
          </a:xfrm>
          <a:custGeom>
            <a:avLst/>
            <a:gdLst>
              <a:gd name="connsiteX0" fmla="*/ 89281 w 115824"/>
              <a:gd name="connsiteY0" fmla="*/ 6350 h 91439"/>
              <a:gd name="connsiteX1" fmla="*/ 109473 w 115824"/>
              <a:gd name="connsiteY1" fmla="*/ 77851 h 91439"/>
              <a:gd name="connsiteX2" fmla="*/ 89154 w 115824"/>
              <a:gd name="connsiteY2" fmla="*/ 84708 h 91439"/>
              <a:gd name="connsiteX3" fmla="*/ 88518 w 115824"/>
              <a:gd name="connsiteY3" fmla="*/ 82169 h 91439"/>
              <a:gd name="connsiteX4" fmla="*/ 95757 w 115824"/>
              <a:gd name="connsiteY4" fmla="*/ 78104 h 91439"/>
              <a:gd name="connsiteX5" fmla="*/ 99694 w 115824"/>
              <a:gd name="connsiteY5" fmla="*/ 71247 h 91439"/>
              <a:gd name="connsiteX6" fmla="*/ 99059 w 115824"/>
              <a:gd name="connsiteY6" fmla="*/ 61976 h 91439"/>
              <a:gd name="connsiteX7" fmla="*/ 95504 w 115824"/>
              <a:gd name="connsiteY7" fmla="*/ 49529 h 91439"/>
              <a:gd name="connsiteX8" fmla="*/ 28575 w 115824"/>
              <a:gd name="connsiteY8" fmla="*/ 68452 h 91439"/>
              <a:gd name="connsiteX9" fmla="*/ 18922 w 115824"/>
              <a:gd name="connsiteY9" fmla="*/ 73025 h 91439"/>
              <a:gd name="connsiteX10" fmla="*/ 18415 w 115824"/>
              <a:gd name="connsiteY10" fmla="*/ 81407 h 91439"/>
              <a:gd name="connsiteX11" fmla="*/ 19177 w 115824"/>
              <a:gd name="connsiteY11" fmla="*/ 84454 h 91439"/>
              <a:gd name="connsiteX12" fmla="*/ 16891 w 115824"/>
              <a:gd name="connsiteY12" fmla="*/ 85089 h 91439"/>
              <a:gd name="connsiteX13" fmla="*/ 6350 w 115824"/>
              <a:gd name="connsiteY13" fmla="*/ 47879 h 91439"/>
              <a:gd name="connsiteX14" fmla="*/ 8763 w 115824"/>
              <a:gd name="connsiteY14" fmla="*/ 47244 h 91439"/>
              <a:gd name="connsiteX15" fmla="*/ 9652 w 115824"/>
              <a:gd name="connsiteY15" fmla="*/ 50419 h 91439"/>
              <a:gd name="connsiteX16" fmla="*/ 15240 w 115824"/>
              <a:gd name="connsiteY16" fmla="*/ 57276 h 91439"/>
              <a:gd name="connsiteX17" fmla="*/ 25018 w 115824"/>
              <a:gd name="connsiteY17" fmla="*/ 56007 h 91439"/>
              <a:gd name="connsiteX18" fmla="*/ 92075 w 115824"/>
              <a:gd name="connsiteY18" fmla="*/ 37210 h 91439"/>
              <a:gd name="connsiteX19" fmla="*/ 89027 w 115824"/>
              <a:gd name="connsiteY19" fmla="*/ 26670 h 91439"/>
              <a:gd name="connsiteX20" fmla="*/ 85725 w 115824"/>
              <a:gd name="connsiteY20" fmla="*/ 18160 h 91439"/>
              <a:gd name="connsiteX21" fmla="*/ 79375 w 115824"/>
              <a:gd name="connsiteY21" fmla="*/ 13716 h 91439"/>
              <a:gd name="connsiteX22" fmla="*/ 69088 w 115824"/>
              <a:gd name="connsiteY22" fmla="*/ 13589 h 91439"/>
              <a:gd name="connsiteX23" fmla="*/ 68453 w 115824"/>
              <a:gd name="connsiteY23" fmla="*/ 11048 h 91439"/>
              <a:gd name="connsiteX24" fmla="*/ 89281 w 115824"/>
              <a:gd name="connsiteY24" fmla="*/ 6350 h 9143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</a:cxnLst>
            <a:rect l="l" t="t" r="r" b="b"/>
            <a:pathLst>
              <a:path w="115824" h="91439">
                <a:moveTo>
                  <a:pt x="89281" y="6350"/>
                </a:moveTo>
                <a:lnTo>
                  <a:pt x="109473" y="77851"/>
                </a:lnTo>
                <a:lnTo>
                  <a:pt x="89154" y="84708"/>
                </a:lnTo>
                <a:lnTo>
                  <a:pt x="88518" y="82169"/>
                </a:lnTo>
                <a:cubicBezTo>
                  <a:pt x="91947" y="80772"/>
                  <a:pt x="94360" y="79375"/>
                  <a:pt x="95757" y="78104"/>
                </a:cubicBezTo>
                <a:cubicBezTo>
                  <a:pt x="97790" y="76073"/>
                  <a:pt x="99186" y="73786"/>
                  <a:pt x="99694" y="71247"/>
                </a:cubicBezTo>
                <a:cubicBezTo>
                  <a:pt x="100330" y="68579"/>
                  <a:pt x="100076" y="65532"/>
                  <a:pt x="99059" y="61976"/>
                </a:cubicBezTo>
                <a:lnTo>
                  <a:pt x="95504" y="49529"/>
                </a:lnTo>
                <a:lnTo>
                  <a:pt x="28575" y="68452"/>
                </a:lnTo>
                <a:cubicBezTo>
                  <a:pt x="23114" y="69976"/>
                  <a:pt x="19939" y="71501"/>
                  <a:pt x="18922" y="73025"/>
                </a:cubicBezTo>
                <a:cubicBezTo>
                  <a:pt x="17653" y="75183"/>
                  <a:pt x="17398" y="77977"/>
                  <a:pt x="18415" y="81407"/>
                </a:cubicBezTo>
                <a:lnTo>
                  <a:pt x="19177" y="84454"/>
                </a:lnTo>
                <a:lnTo>
                  <a:pt x="16891" y="85089"/>
                </a:lnTo>
                <a:lnTo>
                  <a:pt x="6350" y="47879"/>
                </a:lnTo>
                <a:lnTo>
                  <a:pt x="8763" y="47244"/>
                </a:lnTo>
                <a:lnTo>
                  <a:pt x="9652" y="50419"/>
                </a:lnTo>
                <a:cubicBezTo>
                  <a:pt x="10668" y="54101"/>
                  <a:pt x="12572" y="56388"/>
                  <a:pt x="15240" y="57276"/>
                </a:cubicBezTo>
                <a:cubicBezTo>
                  <a:pt x="16891" y="57911"/>
                  <a:pt x="20066" y="57404"/>
                  <a:pt x="25018" y="56007"/>
                </a:cubicBezTo>
                <a:lnTo>
                  <a:pt x="92075" y="37210"/>
                </a:lnTo>
                <a:lnTo>
                  <a:pt x="89027" y="26670"/>
                </a:lnTo>
                <a:cubicBezTo>
                  <a:pt x="87883" y="22479"/>
                  <a:pt x="86741" y="19685"/>
                  <a:pt x="85725" y="18160"/>
                </a:cubicBezTo>
                <a:cubicBezTo>
                  <a:pt x="84201" y="16129"/>
                  <a:pt x="82168" y="14604"/>
                  <a:pt x="79375" y="13716"/>
                </a:cubicBezTo>
                <a:cubicBezTo>
                  <a:pt x="76581" y="12826"/>
                  <a:pt x="73152" y="12700"/>
                  <a:pt x="69088" y="13589"/>
                </a:cubicBezTo>
                <a:lnTo>
                  <a:pt x="68453" y="11048"/>
                </a:lnTo>
                <a:lnTo>
                  <a:pt x="89281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66" name="Freeform 3"/>
          <p:cNvSpPr/>
          <p:nvPr/>
        </p:nvSpPr>
        <p:spPr>
          <a:xfrm>
            <a:off x="7232128" y="2794141"/>
            <a:ext cx="121103" cy="123352"/>
          </a:xfrm>
          <a:custGeom>
            <a:avLst/>
            <a:gdLst>
              <a:gd name="connsiteX0" fmla="*/ 94869 w 123570"/>
              <a:gd name="connsiteY0" fmla="*/ 6350 h 125857"/>
              <a:gd name="connsiteX1" fmla="*/ 104140 w 123570"/>
              <a:gd name="connsiteY1" fmla="*/ 44450 h 125857"/>
              <a:gd name="connsiteX2" fmla="*/ 101727 w 123570"/>
              <a:gd name="connsiteY2" fmla="*/ 45085 h 125857"/>
              <a:gd name="connsiteX3" fmla="*/ 96646 w 123570"/>
              <a:gd name="connsiteY3" fmla="*/ 35179 h 125857"/>
              <a:gd name="connsiteX4" fmla="*/ 84963 w 123570"/>
              <a:gd name="connsiteY4" fmla="*/ 35560 h 125857"/>
              <a:gd name="connsiteX5" fmla="*/ 33908 w 123570"/>
              <a:gd name="connsiteY5" fmla="*/ 47879 h 125857"/>
              <a:gd name="connsiteX6" fmla="*/ 96393 w 123570"/>
              <a:gd name="connsiteY6" fmla="*/ 76327 h 125857"/>
              <a:gd name="connsiteX7" fmla="*/ 105918 w 123570"/>
              <a:gd name="connsiteY7" fmla="*/ 71247 h 125857"/>
              <a:gd name="connsiteX8" fmla="*/ 105536 w 123570"/>
              <a:gd name="connsiteY8" fmla="*/ 60325 h 125857"/>
              <a:gd name="connsiteX9" fmla="*/ 107950 w 123570"/>
              <a:gd name="connsiteY9" fmla="*/ 59689 h 125857"/>
              <a:gd name="connsiteX10" fmla="*/ 117220 w 123570"/>
              <a:gd name="connsiteY10" fmla="*/ 98044 h 125857"/>
              <a:gd name="connsiteX11" fmla="*/ 114807 w 123570"/>
              <a:gd name="connsiteY11" fmla="*/ 98679 h 125857"/>
              <a:gd name="connsiteX12" fmla="*/ 109601 w 123570"/>
              <a:gd name="connsiteY12" fmla="*/ 88773 h 125857"/>
              <a:gd name="connsiteX13" fmla="*/ 97917 w 123570"/>
              <a:gd name="connsiteY13" fmla="*/ 89154 h 125857"/>
              <a:gd name="connsiteX14" fmla="*/ 41656 w 123570"/>
              <a:gd name="connsiteY14" fmla="*/ 102870 h 125857"/>
              <a:gd name="connsiteX15" fmla="*/ 31115 w 123570"/>
              <a:gd name="connsiteY15" fmla="*/ 107823 h 125857"/>
              <a:gd name="connsiteX16" fmla="*/ 31115 w 123570"/>
              <a:gd name="connsiteY16" fmla="*/ 118999 h 125857"/>
              <a:gd name="connsiteX17" fmla="*/ 28575 w 123570"/>
              <a:gd name="connsiteY17" fmla="*/ 119507 h 125857"/>
              <a:gd name="connsiteX18" fmla="*/ 19304 w 123570"/>
              <a:gd name="connsiteY18" fmla="*/ 81152 h 125857"/>
              <a:gd name="connsiteX19" fmla="*/ 21717 w 123570"/>
              <a:gd name="connsiteY19" fmla="*/ 80645 h 125857"/>
              <a:gd name="connsiteX20" fmla="*/ 27051 w 123570"/>
              <a:gd name="connsiteY20" fmla="*/ 90677 h 125857"/>
              <a:gd name="connsiteX21" fmla="*/ 38607 w 123570"/>
              <a:gd name="connsiteY21" fmla="*/ 90297 h 125857"/>
              <a:gd name="connsiteX22" fmla="*/ 89407 w 123570"/>
              <a:gd name="connsiteY22" fmla="*/ 77977 h 125857"/>
              <a:gd name="connsiteX23" fmla="*/ 26796 w 123570"/>
              <a:gd name="connsiteY23" fmla="*/ 49657 h 125857"/>
              <a:gd name="connsiteX24" fmla="*/ 19431 w 123570"/>
              <a:gd name="connsiteY24" fmla="*/ 52197 h 125857"/>
              <a:gd name="connsiteX25" fmla="*/ 17144 w 123570"/>
              <a:gd name="connsiteY25" fmla="*/ 56133 h 125857"/>
              <a:gd name="connsiteX26" fmla="*/ 18033 w 123570"/>
              <a:gd name="connsiteY26" fmla="*/ 65405 h 125857"/>
              <a:gd name="connsiteX27" fmla="*/ 15620 w 123570"/>
              <a:gd name="connsiteY27" fmla="*/ 66039 h 125857"/>
              <a:gd name="connsiteX28" fmla="*/ 6350 w 123570"/>
              <a:gd name="connsiteY28" fmla="*/ 27813 h 125857"/>
              <a:gd name="connsiteX29" fmla="*/ 8763 w 123570"/>
              <a:gd name="connsiteY29" fmla="*/ 27177 h 125857"/>
              <a:gd name="connsiteX30" fmla="*/ 13969 w 123570"/>
              <a:gd name="connsiteY30" fmla="*/ 37083 h 125857"/>
              <a:gd name="connsiteX31" fmla="*/ 25654 w 123570"/>
              <a:gd name="connsiteY31" fmla="*/ 36702 h 125857"/>
              <a:gd name="connsiteX32" fmla="*/ 81915 w 123570"/>
              <a:gd name="connsiteY32" fmla="*/ 22986 h 125857"/>
              <a:gd name="connsiteX33" fmla="*/ 92456 w 123570"/>
              <a:gd name="connsiteY33" fmla="*/ 18033 h 125857"/>
              <a:gd name="connsiteX34" fmla="*/ 92456 w 123570"/>
              <a:gd name="connsiteY34" fmla="*/ 6858 h 125857"/>
              <a:gd name="connsiteX35" fmla="*/ 94869 w 123570"/>
              <a:gd name="connsiteY35" fmla="*/ 6350 h 12585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</a:cxnLst>
            <a:rect l="l" t="t" r="r" b="b"/>
            <a:pathLst>
              <a:path w="123570" h="125857">
                <a:moveTo>
                  <a:pt x="94869" y="6350"/>
                </a:moveTo>
                <a:lnTo>
                  <a:pt x="104140" y="44450"/>
                </a:lnTo>
                <a:lnTo>
                  <a:pt x="101727" y="45085"/>
                </a:lnTo>
                <a:cubicBezTo>
                  <a:pt x="100330" y="39624"/>
                  <a:pt x="98552" y="36322"/>
                  <a:pt x="96646" y="35179"/>
                </a:cubicBezTo>
                <a:cubicBezTo>
                  <a:pt x="94615" y="34036"/>
                  <a:pt x="90805" y="34163"/>
                  <a:pt x="84963" y="35560"/>
                </a:cubicBezTo>
                <a:lnTo>
                  <a:pt x="33908" y="47879"/>
                </a:lnTo>
                <a:lnTo>
                  <a:pt x="96393" y="76327"/>
                </a:lnTo>
                <a:cubicBezTo>
                  <a:pt x="101727" y="74930"/>
                  <a:pt x="104902" y="73279"/>
                  <a:pt x="105918" y="71247"/>
                </a:cubicBezTo>
                <a:cubicBezTo>
                  <a:pt x="106933" y="69214"/>
                  <a:pt x="106806" y="65532"/>
                  <a:pt x="105536" y="60325"/>
                </a:cubicBezTo>
                <a:lnTo>
                  <a:pt x="107950" y="59689"/>
                </a:lnTo>
                <a:lnTo>
                  <a:pt x="117220" y="98044"/>
                </a:lnTo>
                <a:lnTo>
                  <a:pt x="114807" y="98679"/>
                </a:lnTo>
                <a:cubicBezTo>
                  <a:pt x="113283" y="93218"/>
                  <a:pt x="111506" y="89916"/>
                  <a:pt x="109601" y="88773"/>
                </a:cubicBezTo>
                <a:cubicBezTo>
                  <a:pt x="107695" y="87630"/>
                  <a:pt x="103758" y="87757"/>
                  <a:pt x="97917" y="89154"/>
                </a:cubicBezTo>
                <a:lnTo>
                  <a:pt x="41656" y="102870"/>
                </a:lnTo>
                <a:cubicBezTo>
                  <a:pt x="35814" y="104267"/>
                  <a:pt x="32257" y="105918"/>
                  <a:pt x="31115" y="107823"/>
                </a:cubicBezTo>
                <a:cubicBezTo>
                  <a:pt x="29971" y="109727"/>
                  <a:pt x="29844" y="113411"/>
                  <a:pt x="31115" y="118999"/>
                </a:cubicBezTo>
                <a:lnTo>
                  <a:pt x="28575" y="119507"/>
                </a:lnTo>
                <a:lnTo>
                  <a:pt x="19304" y="81152"/>
                </a:lnTo>
                <a:lnTo>
                  <a:pt x="21717" y="80645"/>
                </a:lnTo>
                <a:cubicBezTo>
                  <a:pt x="23241" y="86233"/>
                  <a:pt x="25019" y="89535"/>
                  <a:pt x="27051" y="90677"/>
                </a:cubicBezTo>
                <a:cubicBezTo>
                  <a:pt x="28956" y="91821"/>
                  <a:pt x="32766" y="91694"/>
                  <a:pt x="38607" y="90297"/>
                </a:cubicBezTo>
                <a:lnTo>
                  <a:pt x="89407" y="77977"/>
                </a:lnTo>
                <a:lnTo>
                  <a:pt x="26796" y="49657"/>
                </a:lnTo>
                <a:cubicBezTo>
                  <a:pt x="22986" y="50673"/>
                  <a:pt x="20573" y="51435"/>
                  <a:pt x="19431" y="52197"/>
                </a:cubicBezTo>
                <a:cubicBezTo>
                  <a:pt x="18160" y="53086"/>
                  <a:pt x="17526" y="54355"/>
                  <a:pt x="17144" y="56133"/>
                </a:cubicBezTo>
                <a:cubicBezTo>
                  <a:pt x="16764" y="58039"/>
                  <a:pt x="17144" y="61086"/>
                  <a:pt x="18033" y="65405"/>
                </a:cubicBezTo>
                <a:lnTo>
                  <a:pt x="15620" y="66039"/>
                </a:lnTo>
                <a:lnTo>
                  <a:pt x="6350" y="27813"/>
                </a:lnTo>
                <a:lnTo>
                  <a:pt x="8763" y="27177"/>
                </a:lnTo>
                <a:cubicBezTo>
                  <a:pt x="10286" y="32639"/>
                  <a:pt x="12065" y="35941"/>
                  <a:pt x="13969" y="37083"/>
                </a:cubicBezTo>
                <a:cubicBezTo>
                  <a:pt x="15875" y="38227"/>
                  <a:pt x="19811" y="38100"/>
                  <a:pt x="25654" y="36702"/>
                </a:cubicBezTo>
                <a:lnTo>
                  <a:pt x="81915" y="22986"/>
                </a:lnTo>
                <a:cubicBezTo>
                  <a:pt x="87756" y="21589"/>
                  <a:pt x="91313" y="19939"/>
                  <a:pt x="92456" y="18033"/>
                </a:cubicBezTo>
                <a:cubicBezTo>
                  <a:pt x="93598" y="16129"/>
                  <a:pt x="93726" y="12446"/>
                  <a:pt x="92456" y="6858"/>
                </a:cubicBezTo>
                <a:lnTo>
                  <a:pt x="94869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67" name="Freeform 3"/>
          <p:cNvSpPr/>
          <p:nvPr/>
        </p:nvSpPr>
        <p:spPr>
          <a:xfrm>
            <a:off x="7254408" y="2888741"/>
            <a:ext cx="122349" cy="142519"/>
          </a:xfrm>
          <a:custGeom>
            <a:avLst/>
            <a:gdLst>
              <a:gd name="connsiteX0" fmla="*/ 95758 w 124841"/>
              <a:gd name="connsiteY0" fmla="*/ 6350 h 145414"/>
              <a:gd name="connsiteX1" fmla="*/ 100711 w 124841"/>
              <a:gd name="connsiteY1" fmla="*/ 31623 h 145414"/>
              <a:gd name="connsiteX2" fmla="*/ 37211 w 124841"/>
              <a:gd name="connsiteY2" fmla="*/ 77977 h 145414"/>
              <a:gd name="connsiteX3" fmla="*/ 113538 w 124841"/>
              <a:gd name="connsiteY3" fmla="*/ 96011 h 145414"/>
              <a:gd name="connsiteX4" fmla="*/ 118491 w 124841"/>
              <a:gd name="connsiteY4" fmla="*/ 121285 h 145414"/>
              <a:gd name="connsiteX5" fmla="*/ 116078 w 124841"/>
              <a:gd name="connsiteY5" fmla="*/ 121792 h 145414"/>
              <a:gd name="connsiteX6" fmla="*/ 115443 w 124841"/>
              <a:gd name="connsiteY6" fmla="*/ 118744 h 145414"/>
              <a:gd name="connsiteX7" fmla="*/ 110363 w 124841"/>
              <a:gd name="connsiteY7" fmla="*/ 111251 h 145414"/>
              <a:gd name="connsiteX8" fmla="*/ 100457 w 124841"/>
              <a:gd name="connsiteY8" fmla="*/ 111760 h 145414"/>
              <a:gd name="connsiteX9" fmla="*/ 42164 w 124841"/>
              <a:gd name="connsiteY9" fmla="*/ 123316 h 145414"/>
              <a:gd name="connsiteX10" fmla="*/ 32131 w 124841"/>
              <a:gd name="connsiteY10" fmla="*/ 127254 h 145414"/>
              <a:gd name="connsiteX11" fmla="*/ 30988 w 124841"/>
              <a:gd name="connsiteY11" fmla="*/ 135508 h 145414"/>
              <a:gd name="connsiteX12" fmla="*/ 31623 w 124841"/>
              <a:gd name="connsiteY12" fmla="*/ 138557 h 145414"/>
              <a:gd name="connsiteX13" fmla="*/ 29083 w 124841"/>
              <a:gd name="connsiteY13" fmla="*/ 139064 h 145414"/>
              <a:gd name="connsiteX14" fmla="*/ 21590 w 124841"/>
              <a:gd name="connsiteY14" fmla="*/ 101091 h 145414"/>
              <a:gd name="connsiteX15" fmla="*/ 24003 w 124841"/>
              <a:gd name="connsiteY15" fmla="*/ 100583 h 145414"/>
              <a:gd name="connsiteX16" fmla="*/ 24638 w 124841"/>
              <a:gd name="connsiteY16" fmla="*/ 103758 h 145414"/>
              <a:gd name="connsiteX17" fmla="*/ 29718 w 124841"/>
              <a:gd name="connsiteY17" fmla="*/ 111125 h 145414"/>
              <a:gd name="connsiteX18" fmla="*/ 39623 w 124841"/>
              <a:gd name="connsiteY18" fmla="*/ 110744 h 145414"/>
              <a:gd name="connsiteX19" fmla="*/ 99314 w 124841"/>
              <a:gd name="connsiteY19" fmla="*/ 98805 h 145414"/>
              <a:gd name="connsiteX20" fmla="*/ 17272 w 124841"/>
              <a:gd name="connsiteY20" fmla="*/ 79248 h 145414"/>
              <a:gd name="connsiteX21" fmla="*/ 16891 w 124841"/>
              <a:gd name="connsiteY21" fmla="*/ 77088 h 145414"/>
              <a:gd name="connsiteX22" fmla="*/ 85217 w 124841"/>
              <a:gd name="connsiteY22" fmla="*/ 27685 h 145414"/>
              <a:gd name="connsiteX23" fmla="*/ 25527 w 124841"/>
              <a:gd name="connsiteY23" fmla="*/ 39497 h 145414"/>
              <a:gd name="connsiteX24" fmla="*/ 15494 w 124841"/>
              <a:gd name="connsiteY24" fmla="*/ 43307 h 145414"/>
              <a:gd name="connsiteX25" fmla="*/ 14351 w 124841"/>
              <a:gd name="connsiteY25" fmla="*/ 51561 h 145414"/>
              <a:gd name="connsiteX26" fmla="*/ 14986 w 124841"/>
              <a:gd name="connsiteY26" fmla="*/ 54736 h 145414"/>
              <a:gd name="connsiteX27" fmla="*/ 12446 w 124841"/>
              <a:gd name="connsiteY27" fmla="*/ 55244 h 145414"/>
              <a:gd name="connsiteX28" fmla="*/ 6350 w 124841"/>
              <a:gd name="connsiteY28" fmla="*/ 24129 h 145414"/>
              <a:gd name="connsiteX29" fmla="*/ 8763 w 124841"/>
              <a:gd name="connsiteY29" fmla="*/ 23622 h 145414"/>
              <a:gd name="connsiteX30" fmla="*/ 9398 w 124841"/>
              <a:gd name="connsiteY30" fmla="*/ 26797 h 145414"/>
              <a:gd name="connsiteX31" fmla="*/ 14351 w 124841"/>
              <a:gd name="connsiteY31" fmla="*/ 34163 h 145414"/>
              <a:gd name="connsiteX32" fmla="*/ 24257 w 124841"/>
              <a:gd name="connsiteY32" fmla="*/ 33654 h 145414"/>
              <a:gd name="connsiteX33" fmla="*/ 82677 w 124841"/>
              <a:gd name="connsiteY33" fmla="*/ 22098 h 145414"/>
              <a:gd name="connsiteX34" fmla="*/ 91059 w 124841"/>
              <a:gd name="connsiteY34" fmla="*/ 19050 h 145414"/>
              <a:gd name="connsiteX35" fmla="*/ 93598 w 124841"/>
              <a:gd name="connsiteY35" fmla="*/ 15113 h 145414"/>
              <a:gd name="connsiteX36" fmla="*/ 93218 w 124841"/>
              <a:gd name="connsiteY36" fmla="*/ 6857 h 145414"/>
              <a:gd name="connsiteX37" fmla="*/ 95758 w 124841"/>
              <a:gd name="connsiteY37" fmla="*/ 6350 h 14541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  <a:cxn ang="36">
                <a:pos x="connsiteX36" y="connsiteY36"/>
              </a:cxn>
              <a:cxn ang="37">
                <a:pos x="connsiteX37" y="connsiteY37"/>
              </a:cxn>
            </a:cxnLst>
            <a:rect l="l" t="t" r="r" b="b"/>
            <a:pathLst>
              <a:path w="124841" h="145414">
                <a:moveTo>
                  <a:pt x="95758" y="6350"/>
                </a:moveTo>
                <a:lnTo>
                  <a:pt x="100711" y="31623"/>
                </a:lnTo>
                <a:lnTo>
                  <a:pt x="37211" y="77977"/>
                </a:lnTo>
                <a:lnTo>
                  <a:pt x="113538" y="96011"/>
                </a:lnTo>
                <a:lnTo>
                  <a:pt x="118491" y="121285"/>
                </a:lnTo>
                <a:lnTo>
                  <a:pt x="116078" y="121792"/>
                </a:lnTo>
                <a:lnTo>
                  <a:pt x="115443" y="118744"/>
                </a:lnTo>
                <a:cubicBezTo>
                  <a:pt x="114681" y="114935"/>
                  <a:pt x="113030" y="112394"/>
                  <a:pt x="110363" y="111251"/>
                </a:cubicBezTo>
                <a:cubicBezTo>
                  <a:pt x="108839" y="110616"/>
                  <a:pt x="105536" y="110744"/>
                  <a:pt x="100457" y="111760"/>
                </a:cubicBezTo>
                <a:lnTo>
                  <a:pt x="42164" y="123316"/>
                </a:lnTo>
                <a:cubicBezTo>
                  <a:pt x="36576" y="124460"/>
                  <a:pt x="33273" y="125729"/>
                  <a:pt x="32131" y="127254"/>
                </a:cubicBezTo>
                <a:cubicBezTo>
                  <a:pt x="30607" y="129158"/>
                  <a:pt x="30226" y="131952"/>
                  <a:pt x="30988" y="135508"/>
                </a:cubicBezTo>
                <a:lnTo>
                  <a:pt x="31623" y="138557"/>
                </a:lnTo>
                <a:lnTo>
                  <a:pt x="29083" y="139064"/>
                </a:lnTo>
                <a:lnTo>
                  <a:pt x="21590" y="101091"/>
                </a:lnTo>
                <a:lnTo>
                  <a:pt x="24003" y="100583"/>
                </a:lnTo>
                <a:lnTo>
                  <a:pt x="24638" y="103758"/>
                </a:lnTo>
                <a:cubicBezTo>
                  <a:pt x="25400" y="107569"/>
                  <a:pt x="27051" y="110108"/>
                  <a:pt x="29718" y="111125"/>
                </a:cubicBezTo>
                <a:cubicBezTo>
                  <a:pt x="31242" y="111886"/>
                  <a:pt x="34544" y="111632"/>
                  <a:pt x="39623" y="110744"/>
                </a:cubicBezTo>
                <a:lnTo>
                  <a:pt x="99314" y="98805"/>
                </a:lnTo>
                <a:lnTo>
                  <a:pt x="17272" y="79248"/>
                </a:lnTo>
                <a:lnTo>
                  <a:pt x="16891" y="77088"/>
                </a:lnTo>
                <a:lnTo>
                  <a:pt x="85217" y="27685"/>
                </a:lnTo>
                <a:lnTo>
                  <a:pt x="25527" y="39497"/>
                </a:lnTo>
                <a:cubicBezTo>
                  <a:pt x="19939" y="40639"/>
                  <a:pt x="16636" y="41910"/>
                  <a:pt x="15494" y="43307"/>
                </a:cubicBezTo>
                <a:cubicBezTo>
                  <a:pt x="13970" y="45338"/>
                  <a:pt x="13589" y="48005"/>
                  <a:pt x="14351" y="51561"/>
                </a:cubicBezTo>
                <a:lnTo>
                  <a:pt x="14986" y="54736"/>
                </a:lnTo>
                <a:lnTo>
                  <a:pt x="12446" y="55244"/>
                </a:lnTo>
                <a:lnTo>
                  <a:pt x="6350" y="24129"/>
                </a:lnTo>
                <a:lnTo>
                  <a:pt x="8763" y="23622"/>
                </a:lnTo>
                <a:lnTo>
                  <a:pt x="9398" y="26797"/>
                </a:lnTo>
                <a:cubicBezTo>
                  <a:pt x="10160" y="30607"/>
                  <a:pt x="11811" y="33019"/>
                  <a:pt x="14351" y="34163"/>
                </a:cubicBezTo>
                <a:cubicBezTo>
                  <a:pt x="16002" y="34798"/>
                  <a:pt x="19304" y="34670"/>
                  <a:pt x="24257" y="33654"/>
                </a:cubicBezTo>
                <a:lnTo>
                  <a:pt x="82677" y="22098"/>
                </a:lnTo>
                <a:cubicBezTo>
                  <a:pt x="86614" y="21335"/>
                  <a:pt x="89408" y="20319"/>
                  <a:pt x="91059" y="19050"/>
                </a:cubicBezTo>
                <a:cubicBezTo>
                  <a:pt x="92202" y="18160"/>
                  <a:pt x="92964" y="16891"/>
                  <a:pt x="93598" y="15113"/>
                </a:cubicBezTo>
                <a:cubicBezTo>
                  <a:pt x="94107" y="13207"/>
                  <a:pt x="93980" y="10541"/>
                  <a:pt x="93218" y="6857"/>
                </a:cubicBezTo>
                <a:lnTo>
                  <a:pt x="95758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68" name="Freeform 3"/>
          <p:cNvSpPr/>
          <p:nvPr/>
        </p:nvSpPr>
        <p:spPr>
          <a:xfrm>
            <a:off x="7279177" y="3005993"/>
            <a:ext cx="112515" cy="103312"/>
          </a:xfrm>
          <a:custGeom>
            <a:avLst/>
            <a:gdLst>
              <a:gd name="connsiteX0" fmla="*/ 93725 w 114807"/>
              <a:gd name="connsiteY0" fmla="*/ 6350 h 105410"/>
              <a:gd name="connsiteX1" fmla="*/ 99567 w 114807"/>
              <a:gd name="connsiteY1" fmla="*/ 42798 h 105410"/>
              <a:gd name="connsiteX2" fmla="*/ 97027 w 114807"/>
              <a:gd name="connsiteY2" fmla="*/ 43179 h 105410"/>
              <a:gd name="connsiteX3" fmla="*/ 90296 w 114807"/>
              <a:gd name="connsiteY3" fmla="*/ 34417 h 105410"/>
              <a:gd name="connsiteX4" fmla="*/ 75691 w 114807"/>
              <a:gd name="connsiteY4" fmla="*/ 44069 h 105410"/>
              <a:gd name="connsiteX5" fmla="*/ 44322 w 114807"/>
              <a:gd name="connsiteY5" fmla="*/ 69214 h 105410"/>
              <a:gd name="connsiteX6" fmla="*/ 81152 w 114807"/>
              <a:gd name="connsiteY6" fmla="*/ 78104 h 105410"/>
              <a:gd name="connsiteX7" fmla="*/ 96392 w 114807"/>
              <a:gd name="connsiteY7" fmla="*/ 80264 h 105410"/>
              <a:gd name="connsiteX8" fmla="*/ 101472 w 114807"/>
              <a:gd name="connsiteY8" fmla="*/ 70866 h 105410"/>
              <a:gd name="connsiteX9" fmla="*/ 103885 w 114807"/>
              <a:gd name="connsiteY9" fmla="*/ 70485 h 105410"/>
              <a:gd name="connsiteX10" fmla="*/ 108457 w 114807"/>
              <a:gd name="connsiteY10" fmla="*/ 98679 h 105410"/>
              <a:gd name="connsiteX11" fmla="*/ 106044 w 114807"/>
              <a:gd name="connsiteY11" fmla="*/ 99060 h 105410"/>
              <a:gd name="connsiteX12" fmla="*/ 90042 w 114807"/>
              <a:gd name="connsiteY12" fmla="*/ 86105 h 105410"/>
              <a:gd name="connsiteX13" fmla="*/ 46354 w 114807"/>
              <a:gd name="connsiteY13" fmla="*/ 75438 h 105410"/>
              <a:gd name="connsiteX14" fmla="*/ 22351 w 114807"/>
              <a:gd name="connsiteY14" fmla="*/ 68198 h 105410"/>
              <a:gd name="connsiteX15" fmla="*/ 11048 w 114807"/>
              <a:gd name="connsiteY15" fmla="*/ 60579 h 105410"/>
              <a:gd name="connsiteX16" fmla="*/ 6350 w 114807"/>
              <a:gd name="connsiteY16" fmla="*/ 50800 h 105410"/>
              <a:gd name="connsiteX17" fmla="*/ 7111 w 114807"/>
              <a:gd name="connsiteY17" fmla="*/ 42798 h 105410"/>
              <a:gd name="connsiteX18" fmla="*/ 11938 w 114807"/>
              <a:gd name="connsiteY18" fmla="*/ 38735 h 105410"/>
              <a:gd name="connsiteX19" fmla="*/ 16255 w 114807"/>
              <a:gd name="connsiteY19" fmla="*/ 39751 h 105410"/>
              <a:gd name="connsiteX20" fmla="*/ 18668 w 114807"/>
              <a:gd name="connsiteY20" fmla="*/ 44069 h 105410"/>
              <a:gd name="connsiteX21" fmla="*/ 17398 w 114807"/>
              <a:gd name="connsiteY21" fmla="*/ 51054 h 105410"/>
              <a:gd name="connsiteX22" fmla="*/ 16636 w 114807"/>
              <a:gd name="connsiteY22" fmla="*/ 55117 h 105410"/>
              <a:gd name="connsiteX23" fmla="*/ 29463 w 114807"/>
              <a:gd name="connsiteY23" fmla="*/ 65151 h 105410"/>
              <a:gd name="connsiteX24" fmla="*/ 81660 w 114807"/>
              <a:gd name="connsiteY24" fmla="*/ 23367 h 105410"/>
              <a:gd name="connsiteX25" fmla="*/ 89153 w 114807"/>
              <a:gd name="connsiteY25" fmla="*/ 15367 h 105410"/>
              <a:gd name="connsiteX26" fmla="*/ 91185 w 114807"/>
              <a:gd name="connsiteY26" fmla="*/ 6730 h 105410"/>
              <a:gd name="connsiteX27" fmla="*/ 93725 w 114807"/>
              <a:gd name="connsiteY27" fmla="*/ 6350 h 10541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</a:cxnLst>
            <a:rect l="l" t="t" r="r" b="b"/>
            <a:pathLst>
              <a:path w="114807" h="105410">
                <a:moveTo>
                  <a:pt x="93725" y="6350"/>
                </a:moveTo>
                <a:lnTo>
                  <a:pt x="99567" y="42798"/>
                </a:lnTo>
                <a:lnTo>
                  <a:pt x="97027" y="43179"/>
                </a:lnTo>
                <a:cubicBezTo>
                  <a:pt x="95757" y="36829"/>
                  <a:pt x="93471" y="33908"/>
                  <a:pt x="90296" y="34417"/>
                </a:cubicBezTo>
                <a:cubicBezTo>
                  <a:pt x="88138" y="34798"/>
                  <a:pt x="83184" y="37973"/>
                  <a:pt x="75691" y="44069"/>
                </a:cubicBezTo>
                <a:lnTo>
                  <a:pt x="44322" y="69214"/>
                </a:lnTo>
                <a:lnTo>
                  <a:pt x="81152" y="78104"/>
                </a:lnTo>
                <a:cubicBezTo>
                  <a:pt x="88900" y="79882"/>
                  <a:pt x="93979" y="80645"/>
                  <a:pt x="96392" y="80264"/>
                </a:cubicBezTo>
                <a:cubicBezTo>
                  <a:pt x="99948" y="79629"/>
                  <a:pt x="101600" y="76580"/>
                  <a:pt x="101472" y="70866"/>
                </a:cubicBezTo>
                <a:lnTo>
                  <a:pt x="103885" y="70485"/>
                </a:lnTo>
                <a:lnTo>
                  <a:pt x="108457" y="98679"/>
                </a:lnTo>
                <a:lnTo>
                  <a:pt x="106044" y="99060"/>
                </a:lnTo>
                <a:cubicBezTo>
                  <a:pt x="104139" y="92582"/>
                  <a:pt x="98805" y="88264"/>
                  <a:pt x="90042" y="86105"/>
                </a:cubicBezTo>
                <a:lnTo>
                  <a:pt x="46354" y="75438"/>
                </a:lnTo>
                <a:cubicBezTo>
                  <a:pt x="35178" y="72644"/>
                  <a:pt x="27177" y="70230"/>
                  <a:pt x="22351" y="68198"/>
                </a:cubicBezTo>
                <a:cubicBezTo>
                  <a:pt x="17398" y="66039"/>
                  <a:pt x="13715" y="63500"/>
                  <a:pt x="11048" y="60579"/>
                </a:cubicBezTo>
                <a:cubicBezTo>
                  <a:pt x="8508" y="57657"/>
                  <a:pt x="6984" y="54355"/>
                  <a:pt x="6350" y="50800"/>
                </a:cubicBezTo>
                <a:cubicBezTo>
                  <a:pt x="5841" y="47751"/>
                  <a:pt x="6095" y="45085"/>
                  <a:pt x="7111" y="42798"/>
                </a:cubicBezTo>
                <a:cubicBezTo>
                  <a:pt x="8127" y="40513"/>
                  <a:pt x="9651" y="39116"/>
                  <a:pt x="11938" y="38735"/>
                </a:cubicBezTo>
                <a:cubicBezTo>
                  <a:pt x="13588" y="38480"/>
                  <a:pt x="14985" y="38861"/>
                  <a:pt x="16255" y="39751"/>
                </a:cubicBezTo>
                <a:cubicBezTo>
                  <a:pt x="17525" y="40639"/>
                  <a:pt x="18288" y="42164"/>
                  <a:pt x="18668" y="44069"/>
                </a:cubicBezTo>
                <a:cubicBezTo>
                  <a:pt x="18922" y="45847"/>
                  <a:pt x="18541" y="48260"/>
                  <a:pt x="17398" y="51054"/>
                </a:cubicBezTo>
                <a:cubicBezTo>
                  <a:pt x="16763" y="52832"/>
                  <a:pt x="16509" y="54229"/>
                  <a:pt x="16636" y="55117"/>
                </a:cubicBezTo>
                <a:cubicBezTo>
                  <a:pt x="17271" y="58673"/>
                  <a:pt x="21463" y="61976"/>
                  <a:pt x="29463" y="65151"/>
                </a:cubicBezTo>
                <a:lnTo>
                  <a:pt x="81660" y="23367"/>
                </a:lnTo>
                <a:cubicBezTo>
                  <a:pt x="85216" y="20320"/>
                  <a:pt x="87756" y="17779"/>
                  <a:pt x="89153" y="15367"/>
                </a:cubicBezTo>
                <a:cubicBezTo>
                  <a:pt x="90423" y="13080"/>
                  <a:pt x="91185" y="10160"/>
                  <a:pt x="91185" y="6730"/>
                </a:cubicBezTo>
                <a:lnTo>
                  <a:pt x="93725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69" name="Freeform 3"/>
          <p:cNvSpPr/>
          <p:nvPr/>
        </p:nvSpPr>
        <p:spPr>
          <a:xfrm>
            <a:off x="7289010" y="3095238"/>
            <a:ext cx="112018" cy="100448"/>
          </a:xfrm>
          <a:custGeom>
            <a:avLst/>
            <a:gdLst>
              <a:gd name="connsiteX0" fmla="*/ 98552 w 114300"/>
              <a:gd name="connsiteY0" fmla="*/ 11811 h 102488"/>
              <a:gd name="connsiteX1" fmla="*/ 107950 w 114300"/>
              <a:gd name="connsiteY1" fmla="*/ 84455 h 102488"/>
              <a:gd name="connsiteX2" fmla="*/ 105536 w 114300"/>
              <a:gd name="connsiteY2" fmla="*/ 84836 h 102488"/>
              <a:gd name="connsiteX3" fmla="*/ 101472 w 114300"/>
              <a:gd name="connsiteY3" fmla="*/ 74422 h 102488"/>
              <a:gd name="connsiteX4" fmla="*/ 89789 w 114300"/>
              <a:gd name="connsiteY4" fmla="*/ 73533 h 102488"/>
              <a:gd name="connsiteX5" fmla="*/ 32384 w 114300"/>
              <a:gd name="connsiteY5" fmla="*/ 80898 h 102488"/>
              <a:gd name="connsiteX6" fmla="*/ 21335 w 114300"/>
              <a:gd name="connsiteY6" fmla="*/ 84708 h 102488"/>
              <a:gd name="connsiteX7" fmla="*/ 20066 w 114300"/>
              <a:gd name="connsiteY7" fmla="*/ 95757 h 102488"/>
              <a:gd name="connsiteX8" fmla="*/ 17526 w 114300"/>
              <a:gd name="connsiteY8" fmla="*/ 96138 h 102488"/>
              <a:gd name="connsiteX9" fmla="*/ 12572 w 114300"/>
              <a:gd name="connsiteY9" fmla="*/ 57276 h 102488"/>
              <a:gd name="connsiteX10" fmla="*/ 14985 w 114300"/>
              <a:gd name="connsiteY10" fmla="*/ 56895 h 102488"/>
              <a:gd name="connsiteX11" fmla="*/ 19050 w 114300"/>
              <a:gd name="connsiteY11" fmla="*/ 67310 h 102488"/>
              <a:gd name="connsiteX12" fmla="*/ 30733 w 114300"/>
              <a:gd name="connsiteY12" fmla="*/ 68198 h 102488"/>
              <a:gd name="connsiteX13" fmla="*/ 99694 w 114300"/>
              <a:gd name="connsiteY13" fmla="*/ 59308 h 102488"/>
              <a:gd name="connsiteX14" fmla="*/ 96139 w 114300"/>
              <a:gd name="connsiteY14" fmla="*/ 31369 h 102488"/>
              <a:gd name="connsiteX15" fmla="*/ 70739 w 114300"/>
              <a:gd name="connsiteY15" fmla="*/ 34544 h 102488"/>
              <a:gd name="connsiteX16" fmla="*/ 20192 w 114300"/>
              <a:gd name="connsiteY16" fmla="*/ 34417 h 102488"/>
              <a:gd name="connsiteX17" fmla="*/ 6350 w 114300"/>
              <a:gd name="connsiteY17" fmla="*/ 17652 h 102488"/>
              <a:gd name="connsiteX18" fmla="*/ 7873 w 114300"/>
              <a:gd name="connsiteY18" fmla="*/ 9779 h 102488"/>
              <a:gd name="connsiteX19" fmla="*/ 13080 w 114300"/>
              <a:gd name="connsiteY19" fmla="*/ 6350 h 102488"/>
              <a:gd name="connsiteX20" fmla="*/ 17653 w 114300"/>
              <a:gd name="connsiteY20" fmla="*/ 7492 h 102488"/>
              <a:gd name="connsiteX21" fmla="*/ 19939 w 114300"/>
              <a:gd name="connsiteY21" fmla="*/ 11557 h 102488"/>
              <a:gd name="connsiteX22" fmla="*/ 18542 w 114300"/>
              <a:gd name="connsiteY22" fmla="*/ 16510 h 102488"/>
              <a:gd name="connsiteX23" fmla="*/ 17017 w 114300"/>
              <a:gd name="connsiteY23" fmla="*/ 22225 h 102488"/>
              <a:gd name="connsiteX24" fmla="*/ 27940 w 114300"/>
              <a:gd name="connsiteY24" fmla="*/ 30352 h 102488"/>
              <a:gd name="connsiteX25" fmla="*/ 64896 w 114300"/>
              <a:gd name="connsiteY25" fmla="*/ 29336 h 102488"/>
              <a:gd name="connsiteX26" fmla="*/ 83819 w 114300"/>
              <a:gd name="connsiteY26" fmla="*/ 26923 h 102488"/>
              <a:gd name="connsiteX27" fmla="*/ 94868 w 114300"/>
              <a:gd name="connsiteY27" fmla="*/ 23114 h 102488"/>
              <a:gd name="connsiteX28" fmla="*/ 96139 w 114300"/>
              <a:gd name="connsiteY28" fmla="*/ 12064 h 102488"/>
              <a:gd name="connsiteX29" fmla="*/ 98552 w 114300"/>
              <a:gd name="connsiteY29" fmla="*/ 11811 h 10248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</a:cxnLst>
            <a:rect l="l" t="t" r="r" b="b"/>
            <a:pathLst>
              <a:path w="114300" h="102488">
                <a:moveTo>
                  <a:pt x="98552" y="11811"/>
                </a:moveTo>
                <a:lnTo>
                  <a:pt x="107950" y="84455"/>
                </a:lnTo>
                <a:lnTo>
                  <a:pt x="105536" y="84836"/>
                </a:lnTo>
                <a:cubicBezTo>
                  <a:pt x="104520" y="79248"/>
                  <a:pt x="103251" y="75819"/>
                  <a:pt x="101472" y="74422"/>
                </a:cubicBezTo>
                <a:cubicBezTo>
                  <a:pt x="99567" y="73025"/>
                  <a:pt x="95757" y="72770"/>
                  <a:pt x="89789" y="73533"/>
                </a:cubicBezTo>
                <a:lnTo>
                  <a:pt x="32384" y="80898"/>
                </a:lnTo>
                <a:cubicBezTo>
                  <a:pt x="26416" y="81661"/>
                  <a:pt x="22732" y="82930"/>
                  <a:pt x="21335" y="84708"/>
                </a:cubicBezTo>
                <a:cubicBezTo>
                  <a:pt x="19939" y="86486"/>
                  <a:pt x="19430" y="90170"/>
                  <a:pt x="20066" y="95757"/>
                </a:cubicBezTo>
                <a:lnTo>
                  <a:pt x="17526" y="96138"/>
                </a:lnTo>
                <a:lnTo>
                  <a:pt x="12572" y="57276"/>
                </a:lnTo>
                <a:lnTo>
                  <a:pt x="14985" y="56895"/>
                </a:lnTo>
                <a:cubicBezTo>
                  <a:pt x="15875" y="62483"/>
                  <a:pt x="17271" y="65913"/>
                  <a:pt x="19050" y="67310"/>
                </a:cubicBezTo>
                <a:cubicBezTo>
                  <a:pt x="20828" y="68707"/>
                  <a:pt x="24765" y="68961"/>
                  <a:pt x="30733" y="68198"/>
                </a:cubicBezTo>
                <a:lnTo>
                  <a:pt x="99694" y="59308"/>
                </a:lnTo>
                <a:lnTo>
                  <a:pt x="96139" y="31369"/>
                </a:lnTo>
                <a:lnTo>
                  <a:pt x="70739" y="34544"/>
                </a:lnTo>
                <a:cubicBezTo>
                  <a:pt x="45211" y="37845"/>
                  <a:pt x="28320" y="37845"/>
                  <a:pt x="20192" y="34417"/>
                </a:cubicBezTo>
                <a:cubicBezTo>
                  <a:pt x="11938" y="30988"/>
                  <a:pt x="7366" y="25400"/>
                  <a:pt x="6350" y="17652"/>
                </a:cubicBezTo>
                <a:cubicBezTo>
                  <a:pt x="5968" y="14351"/>
                  <a:pt x="6477" y="11683"/>
                  <a:pt x="7873" y="9779"/>
                </a:cubicBezTo>
                <a:cubicBezTo>
                  <a:pt x="9270" y="7747"/>
                  <a:pt x="11048" y="6604"/>
                  <a:pt x="13080" y="6350"/>
                </a:cubicBezTo>
                <a:cubicBezTo>
                  <a:pt x="14731" y="6095"/>
                  <a:pt x="16255" y="6476"/>
                  <a:pt x="17653" y="7492"/>
                </a:cubicBezTo>
                <a:cubicBezTo>
                  <a:pt x="18922" y="8508"/>
                  <a:pt x="19811" y="9905"/>
                  <a:pt x="19939" y="11557"/>
                </a:cubicBezTo>
                <a:cubicBezTo>
                  <a:pt x="20192" y="12826"/>
                  <a:pt x="19684" y="14605"/>
                  <a:pt x="18542" y="16510"/>
                </a:cubicBezTo>
                <a:cubicBezTo>
                  <a:pt x="17398" y="18669"/>
                  <a:pt x="16891" y="20573"/>
                  <a:pt x="17017" y="22225"/>
                </a:cubicBezTo>
                <a:cubicBezTo>
                  <a:pt x="17526" y="26035"/>
                  <a:pt x="21208" y="28829"/>
                  <a:pt x="27940" y="30352"/>
                </a:cubicBezTo>
                <a:cubicBezTo>
                  <a:pt x="34670" y="32004"/>
                  <a:pt x="46990" y="31623"/>
                  <a:pt x="64896" y="29336"/>
                </a:cubicBezTo>
                <a:lnTo>
                  <a:pt x="83819" y="26923"/>
                </a:lnTo>
                <a:cubicBezTo>
                  <a:pt x="89789" y="26161"/>
                  <a:pt x="93471" y="24892"/>
                  <a:pt x="94868" y="23114"/>
                </a:cubicBezTo>
                <a:cubicBezTo>
                  <a:pt x="96266" y="21336"/>
                  <a:pt x="96646" y="17652"/>
                  <a:pt x="96139" y="12064"/>
                </a:cubicBezTo>
                <a:lnTo>
                  <a:pt x="98552" y="11811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70" name="Freeform 3"/>
          <p:cNvSpPr/>
          <p:nvPr/>
        </p:nvSpPr>
        <p:spPr>
          <a:xfrm>
            <a:off x="7300335" y="3177142"/>
            <a:ext cx="110027" cy="113019"/>
          </a:xfrm>
          <a:custGeom>
            <a:avLst/>
            <a:gdLst>
              <a:gd name="connsiteX0" fmla="*/ 97028 w 112268"/>
              <a:gd name="connsiteY0" fmla="*/ 6350 h 115315"/>
              <a:gd name="connsiteX1" fmla="*/ 100710 w 112268"/>
              <a:gd name="connsiteY1" fmla="*/ 45592 h 115315"/>
              <a:gd name="connsiteX2" fmla="*/ 98298 w 112268"/>
              <a:gd name="connsiteY2" fmla="*/ 45720 h 115315"/>
              <a:gd name="connsiteX3" fmla="*/ 94615 w 112268"/>
              <a:gd name="connsiteY3" fmla="*/ 35178 h 115315"/>
              <a:gd name="connsiteX4" fmla="*/ 82931 w 112268"/>
              <a:gd name="connsiteY4" fmla="*/ 33909 h 115315"/>
              <a:gd name="connsiteX5" fmla="*/ 30734 w 112268"/>
              <a:gd name="connsiteY5" fmla="*/ 38861 h 115315"/>
              <a:gd name="connsiteX6" fmla="*/ 88519 w 112268"/>
              <a:gd name="connsiteY6" fmla="*/ 75819 h 115315"/>
              <a:gd name="connsiteX7" fmla="*/ 98552 w 112268"/>
              <a:gd name="connsiteY7" fmla="*/ 72263 h 115315"/>
              <a:gd name="connsiteX8" fmla="*/ 99695 w 112268"/>
              <a:gd name="connsiteY8" fmla="*/ 61340 h 115315"/>
              <a:gd name="connsiteX9" fmla="*/ 102235 w 112268"/>
              <a:gd name="connsiteY9" fmla="*/ 61086 h 115315"/>
              <a:gd name="connsiteX10" fmla="*/ 105918 w 112268"/>
              <a:gd name="connsiteY10" fmla="*/ 100457 h 115315"/>
              <a:gd name="connsiteX11" fmla="*/ 103505 w 112268"/>
              <a:gd name="connsiteY11" fmla="*/ 100584 h 115315"/>
              <a:gd name="connsiteX12" fmla="*/ 99695 w 112268"/>
              <a:gd name="connsiteY12" fmla="*/ 90170 h 115315"/>
              <a:gd name="connsiteX13" fmla="*/ 88138 w 112268"/>
              <a:gd name="connsiteY13" fmla="*/ 88900 h 115315"/>
              <a:gd name="connsiteX14" fmla="*/ 30480 w 112268"/>
              <a:gd name="connsiteY14" fmla="*/ 94360 h 115315"/>
              <a:gd name="connsiteX15" fmla="*/ 19304 w 112268"/>
              <a:gd name="connsiteY15" fmla="*/ 97663 h 115315"/>
              <a:gd name="connsiteX16" fmla="*/ 17653 w 112268"/>
              <a:gd name="connsiteY16" fmla="*/ 108711 h 115315"/>
              <a:gd name="connsiteX17" fmla="*/ 15240 w 112268"/>
              <a:gd name="connsiteY17" fmla="*/ 108965 h 115315"/>
              <a:gd name="connsiteX18" fmla="*/ 11430 w 112268"/>
              <a:gd name="connsiteY18" fmla="*/ 69722 h 115315"/>
              <a:gd name="connsiteX19" fmla="*/ 13970 w 112268"/>
              <a:gd name="connsiteY19" fmla="*/ 69469 h 115315"/>
              <a:gd name="connsiteX20" fmla="*/ 17653 w 112268"/>
              <a:gd name="connsiteY20" fmla="*/ 80136 h 115315"/>
              <a:gd name="connsiteX21" fmla="*/ 29210 w 112268"/>
              <a:gd name="connsiteY21" fmla="*/ 81407 h 115315"/>
              <a:gd name="connsiteX22" fmla="*/ 81280 w 112268"/>
              <a:gd name="connsiteY22" fmla="*/ 76580 h 115315"/>
              <a:gd name="connsiteX23" fmla="*/ 23368 w 112268"/>
              <a:gd name="connsiteY23" fmla="*/ 39496 h 115315"/>
              <a:gd name="connsiteX24" fmla="*/ 15748 w 112268"/>
              <a:gd name="connsiteY24" fmla="*/ 41021 h 115315"/>
              <a:gd name="connsiteX25" fmla="*/ 12827 w 112268"/>
              <a:gd name="connsiteY25" fmla="*/ 44577 h 115315"/>
              <a:gd name="connsiteX26" fmla="*/ 12446 w 112268"/>
              <a:gd name="connsiteY26" fmla="*/ 53847 h 115315"/>
              <a:gd name="connsiteX27" fmla="*/ 10033 w 112268"/>
              <a:gd name="connsiteY27" fmla="*/ 54102 h 115315"/>
              <a:gd name="connsiteX28" fmla="*/ 6350 w 112268"/>
              <a:gd name="connsiteY28" fmla="*/ 14985 h 115315"/>
              <a:gd name="connsiteX29" fmla="*/ 8763 w 112268"/>
              <a:gd name="connsiteY29" fmla="*/ 14732 h 115315"/>
              <a:gd name="connsiteX30" fmla="*/ 12446 w 112268"/>
              <a:gd name="connsiteY30" fmla="*/ 25272 h 115315"/>
              <a:gd name="connsiteX31" fmla="*/ 24130 w 112268"/>
              <a:gd name="connsiteY31" fmla="*/ 26542 h 115315"/>
              <a:gd name="connsiteX32" fmla="*/ 81788 w 112268"/>
              <a:gd name="connsiteY32" fmla="*/ 21082 h 115315"/>
              <a:gd name="connsiteX33" fmla="*/ 92836 w 112268"/>
              <a:gd name="connsiteY33" fmla="*/ 17653 h 115315"/>
              <a:gd name="connsiteX34" fmla="*/ 94488 w 112268"/>
              <a:gd name="connsiteY34" fmla="*/ 6604 h 115315"/>
              <a:gd name="connsiteX35" fmla="*/ 97028 w 112268"/>
              <a:gd name="connsiteY35" fmla="*/ 6350 h 11531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</a:cxnLst>
            <a:rect l="l" t="t" r="r" b="b"/>
            <a:pathLst>
              <a:path w="112268" h="115315">
                <a:moveTo>
                  <a:pt x="97028" y="6350"/>
                </a:moveTo>
                <a:lnTo>
                  <a:pt x="100710" y="45592"/>
                </a:lnTo>
                <a:lnTo>
                  <a:pt x="98298" y="45720"/>
                </a:lnTo>
                <a:cubicBezTo>
                  <a:pt x="97535" y="40132"/>
                  <a:pt x="96266" y="36576"/>
                  <a:pt x="94615" y="35178"/>
                </a:cubicBezTo>
                <a:cubicBezTo>
                  <a:pt x="92836" y="33782"/>
                  <a:pt x="88900" y="33401"/>
                  <a:pt x="82931" y="33909"/>
                </a:cubicBezTo>
                <a:lnTo>
                  <a:pt x="30734" y="38861"/>
                </a:lnTo>
                <a:lnTo>
                  <a:pt x="88519" y="75819"/>
                </a:lnTo>
                <a:cubicBezTo>
                  <a:pt x="93980" y="75310"/>
                  <a:pt x="97282" y="74167"/>
                  <a:pt x="98552" y="72263"/>
                </a:cubicBezTo>
                <a:cubicBezTo>
                  <a:pt x="99822" y="70358"/>
                  <a:pt x="100203" y="66675"/>
                  <a:pt x="99695" y="61340"/>
                </a:cubicBezTo>
                <a:lnTo>
                  <a:pt x="102235" y="61086"/>
                </a:lnTo>
                <a:lnTo>
                  <a:pt x="105918" y="100457"/>
                </a:lnTo>
                <a:lnTo>
                  <a:pt x="103505" y="100584"/>
                </a:lnTo>
                <a:cubicBezTo>
                  <a:pt x="102743" y="94996"/>
                  <a:pt x="101473" y="91566"/>
                  <a:pt x="99695" y="90170"/>
                </a:cubicBezTo>
                <a:cubicBezTo>
                  <a:pt x="98044" y="88646"/>
                  <a:pt x="94107" y="88265"/>
                  <a:pt x="88138" y="88900"/>
                </a:cubicBezTo>
                <a:lnTo>
                  <a:pt x="30480" y="94360"/>
                </a:lnTo>
                <a:cubicBezTo>
                  <a:pt x="24510" y="94869"/>
                  <a:pt x="20828" y="96011"/>
                  <a:pt x="19304" y="97663"/>
                </a:cubicBezTo>
                <a:cubicBezTo>
                  <a:pt x="17907" y="99440"/>
                  <a:pt x="17272" y="103123"/>
                  <a:pt x="17653" y="108711"/>
                </a:cubicBezTo>
                <a:lnTo>
                  <a:pt x="15240" y="108965"/>
                </a:lnTo>
                <a:lnTo>
                  <a:pt x="11430" y="69722"/>
                </a:lnTo>
                <a:lnTo>
                  <a:pt x="13970" y="69469"/>
                </a:lnTo>
                <a:cubicBezTo>
                  <a:pt x="14732" y="75184"/>
                  <a:pt x="15875" y="78740"/>
                  <a:pt x="17653" y="80136"/>
                </a:cubicBezTo>
                <a:cubicBezTo>
                  <a:pt x="19431" y="81660"/>
                  <a:pt x="23368" y="82041"/>
                  <a:pt x="29210" y="81407"/>
                </a:cubicBezTo>
                <a:lnTo>
                  <a:pt x="81280" y="76580"/>
                </a:lnTo>
                <a:lnTo>
                  <a:pt x="23368" y="39496"/>
                </a:lnTo>
                <a:cubicBezTo>
                  <a:pt x="19558" y="40004"/>
                  <a:pt x="17018" y="40513"/>
                  <a:pt x="15748" y="41021"/>
                </a:cubicBezTo>
                <a:cubicBezTo>
                  <a:pt x="14478" y="41655"/>
                  <a:pt x="13461" y="42798"/>
                  <a:pt x="12827" y="44577"/>
                </a:cubicBezTo>
                <a:cubicBezTo>
                  <a:pt x="12319" y="46482"/>
                  <a:pt x="12192" y="49529"/>
                  <a:pt x="12446" y="53847"/>
                </a:cubicBezTo>
                <a:lnTo>
                  <a:pt x="10033" y="54102"/>
                </a:lnTo>
                <a:lnTo>
                  <a:pt x="6350" y="14985"/>
                </a:lnTo>
                <a:lnTo>
                  <a:pt x="8763" y="14732"/>
                </a:lnTo>
                <a:cubicBezTo>
                  <a:pt x="9525" y="20320"/>
                  <a:pt x="10668" y="23876"/>
                  <a:pt x="12446" y="25272"/>
                </a:cubicBezTo>
                <a:cubicBezTo>
                  <a:pt x="14223" y="26670"/>
                  <a:pt x="18034" y="27051"/>
                  <a:pt x="24130" y="26542"/>
                </a:cubicBezTo>
                <a:lnTo>
                  <a:pt x="81788" y="21082"/>
                </a:lnTo>
                <a:cubicBezTo>
                  <a:pt x="87757" y="20446"/>
                  <a:pt x="91440" y="19430"/>
                  <a:pt x="92836" y="17653"/>
                </a:cubicBezTo>
                <a:cubicBezTo>
                  <a:pt x="94360" y="16002"/>
                  <a:pt x="94869" y="12319"/>
                  <a:pt x="94488" y="6604"/>
                </a:cubicBezTo>
                <a:lnTo>
                  <a:pt x="97028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71" name="Freeform 3"/>
          <p:cNvSpPr/>
          <p:nvPr/>
        </p:nvSpPr>
        <p:spPr>
          <a:xfrm>
            <a:off x="7355473" y="3299746"/>
            <a:ext cx="51902" cy="41199"/>
          </a:xfrm>
          <a:custGeom>
            <a:avLst/>
            <a:gdLst>
              <a:gd name="connsiteX0" fmla="*/ 46609 w 52959"/>
              <a:gd name="connsiteY0" fmla="*/ 14985 h 42036"/>
              <a:gd name="connsiteX1" fmla="*/ 44831 w 52959"/>
              <a:gd name="connsiteY1" fmla="*/ 6350 h 42036"/>
              <a:gd name="connsiteX2" fmla="*/ 6985 w 52959"/>
              <a:gd name="connsiteY2" fmla="*/ 8763 h 42036"/>
              <a:gd name="connsiteX3" fmla="*/ 6350 w 52959"/>
              <a:gd name="connsiteY3" fmla="*/ 15113 h 42036"/>
              <a:gd name="connsiteX4" fmla="*/ 6350 w 52959"/>
              <a:gd name="connsiteY4" fmla="*/ 19811 h 42036"/>
              <a:gd name="connsiteX5" fmla="*/ 12446 w 52959"/>
              <a:gd name="connsiteY5" fmla="*/ 31495 h 42036"/>
              <a:gd name="connsiteX6" fmla="*/ 26797 w 52959"/>
              <a:gd name="connsiteY6" fmla="*/ 35686 h 42036"/>
              <a:gd name="connsiteX7" fmla="*/ 37592 w 52959"/>
              <a:gd name="connsiteY7" fmla="*/ 32511 h 42036"/>
              <a:gd name="connsiteX8" fmla="*/ 44831 w 52959"/>
              <a:gd name="connsiteY8" fmla="*/ 25272 h 42036"/>
              <a:gd name="connsiteX9" fmla="*/ 46609 w 52959"/>
              <a:gd name="connsiteY9" fmla="*/ 14985 h 4203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</a:cxnLst>
            <a:rect l="l" t="t" r="r" b="b"/>
            <a:pathLst>
              <a:path w="52959" h="42036">
                <a:moveTo>
                  <a:pt x="46609" y="14985"/>
                </a:moveTo>
                <a:cubicBezTo>
                  <a:pt x="46482" y="12700"/>
                  <a:pt x="45847" y="9778"/>
                  <a:pt x="44831" y="6350"/>
                </a:cubicBezTo>
                <a:lnTo>
                  <a:pt x="6985" y="8763"/>
                </a:lnTo>
                <a:cubicBezTo>
                  <a:pt x="6731" y="11048"/>
                  <a:pt x="6477" y="13208"/>
                  <a:pt x="6350" y="15113"/>
                </a:cubicBezTo>
                <a:cubicBezTo>
                  <a:pt x="6223" y="16890"/>
                  <a:pt x="6223" y="18541"/>
                  <a:pt x="6350" y="19811"/>
                </a:cubicBezTo>
                <a:cubicBezTo>
                  <a:pt x="6604" y="24383"/>
                  <a:pt x="8636" y="28320"/>
                  <a:pt x="12446" y="31495"/>
                </a:cubicBezTo>
                <a:cubicBezTo>
                  <a:pt x="16383" y="34670"/>
                  <a:pt x="21082" y="36067"/>
                  <a:pt x="26797" y="35686"/>
                </a:cubicBezTo>
                <a:cubicBezTo>
                  <a:pt x="30734" y="35433"/>
                  <a:pt x="34290" y="34416"/>
                  <a:pt x="37592" y="32511"/>
                </a:cubicBezTo>
                <a:cubicBezTo>
                  <a:pt x="40894" y="30733"/>
                  <a:pt x="43307" y="28320"/>
                  <a:pt x="44831" y="25272"/>
                </a:cubicBezTo>
                <a:cubicBezTo>
                  <a:pt x="46228" y="22097"/>
                  <a:pt x="46863" y="18795"/>
                  <a:pt x="46609" y="14985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72" name="Freeform 3"/>
          <p:cNvSpPr/>
          <p:nvPr/>
        </p:nvSpPr>
        <p:spPr>
          <a:xfrm>
            <a:off x="7308923" y="3273855"/>
            <a:ext cx="103679" cy="81902"/>
          </a:xfrm>
          <a:custGeom>
            <a:avLst/>
            <a:gdLst>
              <a:gd name="connsiteX0" fmla="*/ 97409 w 105791"/>
              <a:gd name="connsiteY0" fmla="*/ 6350 h 83566"/>
              <a:gd name="connsiteX1" fmla="*/ 99441 w 105791"/>
              <a:gd name="connsiteY1" fmla="*/ 39751 h 83566"/>
              <a:gd name="connsiteX2" fmla="*/ 98171 w 105791"/>
              <a:gd name="connsiteY2" fmla="*/ 59182 h 83566"/>
              <a:gd name="connsiteX3" fmla="*/ 90423 w 105791"/>
              <a:gd name="connsiteY3" fmla="*/ 71501 h 83566"/>
              <a:gd name="connsiteX4" fmla="*/ 76581 w 105791"/>
              <a:gd name="connsiteY4" fmla="*/ 77216 h 83566"/>
              <a:gd name="connsiteX5" fmla="*/ 58039 w 105791"/>
              <a:gd name="connsiteY5" fmla="*/ 71120 h 83566"/>
              <a:gd name="connsiteX6" fmla="*/ 49784 w 105791"/>
              <a:gd name="connsiteY6" fmla="*/ 50800 h 83566"/>
              <a:gd name="connsiteX7" fmla="*/ 49784 w 105791"/>
              <a:gd name="connsiteY7" fmla="*/ 43688 h 83566"/>
              <a:gd name="connsiteX8" fmla="*/ 50672 w 105791"/>
              <a:gd name="connsiteY8" fmla="*/ 35305 h 83566"/>
              <a:gd name="connsiteX9" fmla="*/ 24130 w 105791"/>
              <a:gd name="connsiteY9" fmla="*/ 37084 h 83566"/>
              <a:gd name="connsiteX10" fmla="*/ 13589 w 105791"/>
              <a:gd name="connsiteY10" fmla="*/ 39624 h 83566"/>
              <a:gd name="connsiteX11" fmla="*/ 11176 w 105791"/>
              <a:gd name="connsiteY11" fmla="*/ 47498 h 83566"/>
              <a:gd name="connsiteX12" fmla="*/ 11430 w 105791"/>
              <a:gd name="connsiteY12" fmla="*/ 51054 h 83566"/>
              <a:gd name="connsiteX13" fmla="*/ 8890 w 105791"/>
              <a:gd name="connsiteY13" fmla="*/ 51180 h 83566"/>
              <a:gd name="connsiteX14" fmla="*/ 6350 w 105791"/>
              <a:gd name="connsiteY14" fmla="*/ 12192 h 83566"/>
              <a:gd name="connsiteX15" fmla="*/ 8890 w 105791"/>
              <a:gd name="connsiteY15" fmla="*/ 12065 h 83566"/>
              <a:gd name="connsiteX16" fmla="*/ 9144 w 105791"/>
              <a:gd name="connsiteY16" fmla="*/ 15494 h 83566"/>
              <a:gd name="connsiteX17" fmla="*/ 13335 w 105791"/>
              <a:gd name="connsiteY17" fmla="*/ 23495 h 83566"/>
              <a:gd name="connsiteX18" fmla="*/ 23368 w 105791"/>
              <a:gd name="connsiteY18" fmla="*/ 24130 h 83566"/>
              <a:gd name="connsiteX19" fmla="*/ 82042 w 105791"/>
              <a:gd name="connsiteY19" fmla="*/ 20447 h 83566"/>
              <a:gd name="connsiteX20" fmla="*/ 92583 w 105791"/>
              <a:gd name="connsiteY20" fmla="*/ 17907 h 83566"/>
              <a:gd name="connsiteX21" fmla="*/ 95122 w 105791"/>
              <a:gd name="connsiteY21" fmla="*/ 9905 h 83566"/>
              <a:gd name="connsiteX22" fmla="*/ 94869 w 105791"/>
              <a:gd name="connsiteY22" fmla="*/ 6604 h 83566"/>
              <a:gd name="connsiteX23" fmla="*/ 97409 w 105791"/>
              <a:gd name="connsiteY23" fmla="*/ 6350 h 8356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</a:cxnLst>
            <a:rect l="l" t="t" r="r" b="b"/>
            <a:pathLst>
              <a:path w="105791" h="83566">
                <a:moveTo>
                  <a:pt x="97409" y="6350"/>
                </a:moveTo>
                <a:lnTo>
                  <a:pt x="99441" y="39751"/>
                </a:lnTo>
                <a:cubicBezTo>
                  <a:pt x="99948" y="47879"/>
                  <a:pt x="99568" y="54355"/>
                  <a:pt x="98171" y="59182"/>
                </a:cubicBezTo>
                <a:cubicBezTo>
                  <a:pt x="96773" y="63880"/>
                  <a:pt x="94234" y="68072"/>
                  <a:pt x="90423" y="71501"/>
                </a:cubicBezTo>
                <a:cubicBezTo>
                  <a:pt x="86741" y="75057"/>
                  <a:pt x="82042" y="76961"/>
                  <a:pt x="76581" y="77216"/>
                </a:cubicBezTo>
                <a:cubicBezTo>
                  <a:pt x="69215" y="77724"/>
                  <a:pt x="62992" y="75692"/>
                  <a:pt x="58039" y="71120"/>
                </a:cubicBezTo>
                <a:cubicBezTo>
                  <a:pt x="53085" y="66548"/>
                  <a:pt x="50292" y="59690"/>
                  <a:pt x="49784" y="50800"/>
                </a:cubicBezTo>
                <a:cubicBezTo>
                  <a:pt x="49657" y="48641"/>
                  <a:pt x="49657" y="46228"/>
                  <a:pt x="49784" y="43688"/>
                </a:cubicBezTo>
                <a:cubicBezTo>
                  <a:pt x="49910" y="41021"/>
                  <a:pt x="50165" y="38354"/>
                  <a:pt x="50672" y="35305"/>
                </a:cubicBezTo>
                <a:lnTo>
                  <a:pt x="24130" y="37084"/>
                </a:lnTo>
                <a:cubicBezTo>
                  <a:pt x="18415" y="37465"/>
                  <a:pt x="14985" y="38227"/>
                  <a:pt x="13589" y="39624"/>
                </a:cubicBezTo>
                <a:cubicBezTo>
                  <a:pt x="11810" y="41402"/>
                  <a:pt x="10922" y="44069"/>
                  <a:pt x="11176" y="47498"/>
                </a:cubicBezTo>
                <a:lnTo>
                  <a:pt x="11430" y="51054"/>
                </a:lnTo>
                <a:lnTo>
                  <a:pt x="8890" y="51180"/>
                </a:lnTo>
                <a:lnTo>
                  <a:pt x="6350" y="12192"/>
                </a:lnTo>
                <a:lnTo>
                  <a:pt x="8890" y="12065"/>
                </a:lnTo>
                <a:lnTo>
                  <a:pt x="9144" y="15494"/>
                </a:lnTo>
                <a:cubicBezTo>
                  <a:pt x="9397" y="19304"/>
                  <a:pt x="10795" y="21971"/>
                  <a:pt x="13335" y="23495"/>
                </a:cubicBezTo>
                <a:cubicBezTo>
                  <a:pt x="14859" y="24257"/>
                  <a:pt x="18160" y="24511"/>
                  <a:pt x="23368" y="24130"/>
                </a:cubicBezTo>
                <a:lnTo>
                  <a:pt x="82042" y="20447"/>
                </a:lnTo>
                <a:cubicBezTo>
                  <a:pt x="87757" y="20066"/>
                  <a:pt x="91313" y="19177"/>
                  <a:pt x="92583" y="17907"/>
                </a:cubicBezTo>
                <a:cubicBezTo>
                  <a:pt x="94488" y="16129"/>
                  <a:pt x="95250" y="13461"/>
                  <a:pt x="95122" y="9905"/>
                </a:cubicBezTo>
                <a:lnTo>
                  <a:pt x="94869" y="6604"/>
                </a:lnTo>
                <a:lnTo>
                  <a:pt x="97409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73" name="Freeform 3"/>
          <p:cNvSpPr/>
          <p:nvPr/>
        </p:nvSpPr>
        <p:spPr>
          <a:xfrm>
            <a:off x="7318011" y="3369451"/>
            <a:ext cx="96334" cy="69704"/>
          </a:xfrm>
          <a:custGeom>
            <a:avLst/>
            <a:gdLst>
              <a:gd name="connsiteX0" fmla="*/ 91947 w 98297"/>
              <a:gd name="connsiteY0" fmla="*/ 33781 h 71120"/>
              <a:gd name="connsiteX1" fmla="*/ 82168 w 98297"/>
              <a:gd name="connsiteY1" fmla="*/ 14477 h 71120"/>
              <a:gd name="connsiteX2" fmla="*/ 48767 w 98297"/>
              <a:gd name="connsiteY2" fmla="*/ 6350 h 71120"/>
              <a:gd name="connsiteX3" fmla="*/ 14858 w 98297"/>
              <a:gd name="connsiteY3" fmla="*/ 17017 h 71120"/>
              <a:gd name="connsiteX4" fmla="*/ 6350 w 98297"/>
              <a:gd name="connsiteY4" fmla="*/ 36575 h 71120"/>
              <a:gd name="connsiteX5" fmla="*/ 17017 w 98297"/>
              <a:gd name="connsiteY5" fmla="*/ 57530 h 71120"/>
              <a:gd name="connsiteX6" fmla="*/ 48894 w 98297"/>
              <a:gd name="connsiteY6" fmla="*/ 64769 h 71120"/>
              <a:gd name="connsiteX7" fmla="*/ 83439 w 98297"/>
              <a:gd name="connsiteY7" fmla="*/ 54482 h 71120"/>
              <a:gd name="connsiteX8" fmla="*/ 91947 w 98297"/>
              <a:gd name="connsiteY8" fmla="*/ 33781 h 7112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98297" h="71120">
                <a:moveTo>
                  <a:pt x="91947" y="33781"/>
                </a:moveTo>
                <a:cubicBezTo>
                  <a:pt x="91566" y="25526"/>
                  <a:pt x="88391" y="19176"/>
                  <a:pt x="82168" y="14477"/>
                </a:cubicBezTo>
                <a:cubicBezTo>
                  <a:pt x="74421" y="8508"/>
                  <a:pt x="63372" y="5841"/>
                  <a:pt x="48767" y="6350"/>
                </a:cubicBezTo>
                <a:cubicBezTo>
                  <a:pt x="33908" y="6857"/>
                  <a:pt x="22605" y="10413"/>
                  <a:pt x="14858" y="17017"/>
                </a:cubicBezTo>
                <a:cubicBezTo>
                  <a:pt x="8889" y="22097"/>
                  <a:pt x="6095" y="28575"/>
                  <a:pt x="6350" y="36575"/>
                </a:cubicBezTo>
                <a:cubicBezTo>
                  <a:pt x="6603" y="45211"/>
                  <a:pt x="10159" y="52196"/>
                  <a:pt x="17017" y="57530"/>
                </a:cubicBezTo>
                <a:cubicBezTo>
                  <a:pt x="23876" y="62864"/>
                  <a:pt x="34543" y="65277"/>
                  <a:pt x="48894" y="64769"/>
                </a:cubicBezTo>
                <a:cubicBezTo>
                  <a:pt x="64515" y="64261"/>
                  <a:pt x="75945" y="60832"/>
                  <a:pt x="83439" y="54482"/>
                </a:cubicBezTo>
                <a:cubicBezTo>
                  <a:pt x="89407" y="49275"/>
                  <a:pt x="92201" y="42417"/>
                  <a:pt x="91947" y="33781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74" name="Freeform 3"/>
          <p:cNvSpPr/>
          <p:nvPr/>
        </p:nvSpPr>
        <p:spPr>
          <a:xfrm>
            <a:off x="7313280" y="3354389"/>
            <a:ext cx="105795" cy="99826"/>
          </a:xfrm>
          <a:custGeom>
            <a:avLst/>
            <a:gdLst>
              <a:gd name="connsiteX0" fmla="*/ 101600 w 107950"/>
              <a:gd name="connsiteY0" fmla="*/ 50165 h 101854"/>
              <a:gd name="connsiteX1" fmla="*/ 89153 w 107950"/>
              <a:gd name="connsiteY1" fmla="*/ 81407 h 101854"/>
              <a:gd name="connsiteX2" fmla="*/ 56006 w 107950"/>
              <a:gd name="connsiteY2" fmla="*/ 95504 h 101854"/>
              <a:gd name="connsiteX3" fmla="*/ 21081 w 107950"/>
              <a:gd name="connsiteY3" fmla="*/ 83566 h 101854"/>
              <a:gd name="connsiteX4" fmla="*/ 6350 w 107950"/>
              <a:gd name="connsiteY4" fmla="*/ 52323 h 101854"/>
              <a:gd name="connsiteX5" fmla="*/ 18668 w 107950"/>
              <a:gd name="connsiteY5" fmla="*/ 20192 h 101854"/>
              <a:gd name="connsiteX6" fmla="*/ 52831 w 107950"/>
              <a:gd name="connsiteY6" fmla="*/ 6350 h 101854"/>
              <a:gd name="connsiteX7" fmla="*/ 88772 w 107950"/>
              <a:gd name="connsiteY7" fmla="*/ 19939 h 101854"/>
              <a:gd name="connsiteX8" fmla="*/ 101600 w 107950"/>
              <a:gd name="connsiteY8" fmla="*/ 50165 h 10185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107950" h="101854">
                <a:moveTo>
                  <a:pt x="101600" y="50165"/>
                </a:moveTo>
                <a:cubicBezTo>
                  <a:pt x="102107" y="61976"/>
                  <a:pt x="97916" y="72390"/>
                  <a:pt x="89153" y="81407"/>
                </a:cubicBezTo>
                <a:cubicBezTo>
                  <a:pt x="80517" y="90297"/>
                  <a:pt x="69468" y="94996"/>
                  <a:pt x="56006" y="95504"/>
                </a:cubicBezTo>
                <a:cubicBezTo>
                  <a:pt x="42164" y="96011"/>
                  <a:pt x="30606" y="91948"/>
                  <a:pt x="21081" y="83566"/>
                </a:cubicBezTo>
                <a:cubicBezTo>
                  <a:pt x="11683" y="75057"/>
                  <a:pt x="6730" y="64642"/>
                  <a:pt x="6350" y="52323"/>
                </a:cubicBezTo>
                <a:cubicBezTo>
                  <a:pt x="5968" y="39751"/>
                  <a:pt x="10032" y="29083"/>
                  <a:pt x="18668" y="20192"/>
                </a:cubicBezTo>
                <a:cubicBezTo>
                  <a:pt x="27304" y="11430"/>
                  <a:pt x="38734" y="6730"/>
                  <a:pt x="52831" y="6350"/>
                </a:cubicBezTo>
                <a:cubicBezTo>
                  <a:pt x="67309" y="5842"/>
                  <a:pt x="79247" y="10414"/>
                  <a:pt x="88772" y="19939"/>
                </a:cubicBezTo>
                <a:cubicBezTo>
                  <a:pt x="96901" y="28194"/>
                  <a:pt x="101218" y="38354"/>
                  <a:pt x="101600" y="50165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75" name="Freeform 3"/>
          <p:cNvSpPr/>
          <p:nvPr/>
        </p:nvSpPr>
        <p:spPr>
          <a:xfrm>
            <a:off x="7321494" y="3473261"/>
            <a:ext cx="51528" cy="52028"/>
          </a:xfrm>
          <a:custGeom>
            <a:avLst/>
            <a:gdLst>
              <a:gd name="connsiteX0" fmla="*/ 46228 w 52578"/>
              <a:gd name="connsiteY0" fmla="*/ 18288 h 53085"/>
              <a:gd name="connsiteX1" fmla="*/ 46101 w 52578"/>
              <a:gd name="connsiteY1" fmla="*/ 11176 h 53085"/>
              <a:gd name="connsiteX2" fmla="*/ 45593 w 52578"/>
              <a:gd name="connsiteY2" fmla="*/ 6350 h 53085"/>
              <a:gd name="connsiteX3" fmla="*/ 8255 w 52578"/>
              <a:gd name="connsiteY3" fmla="*/ 6476 h 53085"/>
              <a:gd name="connsiteX4" fmla="*/ 6350 w 52578"/>
              <a:gd name="connsiteY4" fmla="*/ 21844 h 53085"/>
              <a:gd name="connsiteX5" fmla="*/ 11938 w 52578"/>
              <a:gd name="connsiteY5" fmla="*/ 40385 h 53085"/>
              <a:gd name="connsiteX6" fmla="*/ 25400 w 52578"/>
              <a:gd name="connsiteY6" fmla="*/ 46735 h 53085"/>
              <a:gd name="connsiteX7" fmla="*/ 35686 w 52578"/>
              <a:gd name="connsiteY7" fmla="*/ 43814 h 53085"/>
              <a:gd name="connsiteX8" fmla="*/ 43433 w 52578"/>
              <a:gd name="connsiteY8" fmla="*/ 34416 h 53085"/>
              <a:gd name="connsiteX9" fmla="*/ 46228 w 52578"/>
              <a:gd name="connsiteY9" fmla="*/ 18288 h 5308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</a:cxnLst>
            <a:rect l="l" t="t" r="r" b="b"/>
            <a:pathLst>
              <a:path w="52578" h="53085">
                <a:moveTo>
                  <a:pt x="46228" y="18288"/>
                </a:moveTo>
                <a:cubicBezTo>
                  <a:pt x="46228" y="15494"/>
                  <a:pt x="46101" y="13080"/>
                  <a:pt x="46101" y="11176"/>
                </a:cubicBezTo>
                <a:cubicBezTo>
                  <a:pt x="45973" y="9144"/>
                  <a:pt x="45846" y="7620"/>
                  <a:pt x="45593" y="6350"/>
                </a:cubicBezTo>
                <a:lnTo>
                  <a:pt x="8255" y="6476"/>
                </a:lnTo>
                <a:cubicBezTo>
                  <a:pt x="6984" y="11683"/>
                  <a:pt x="6350" y="16763"/>
                  <a:pt x="6350" y="21844"/>
                </a:cubicBezTo>
                <a:cubicBezTo>
                  <a:pt x="6477" y="29971"/>
                  <a:pt x="8255" y="36067"/>
                  <a:pt x="11938" y="40385"/>
                </a:cubicBezTo>
                <a:cubicBezTo>
                  <a:pt x="15620" y="44576"/>
                  <a:pt x="20066" y="46735"/>
                  <a:pt x="25400" y="46735"/>
                </a:cubicBezTo>
                <a:cubicBezTo>
                  <a:pt x="28956" y="46735"/>
                  <a:pt x="32384" y="45720"/>
                  <a:pt x="35686" y="43814"/>
                </a:cubicBezTo>
                <a:cubicBezTo>
                  <a:pt x="38989" y="41909"/>
                  <a:pt x="41529" y="38734"/>
                  <a:pt x="43433" y="34416"/>
                </a:cubicBezTo>
                <a:cubicBezTo>
                  <a:pt x="45211" y="30098"/>
                  <a:pt x="46228" y="24638"/>
                  <a:pt x="46228" y="18288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76" name="Freeform 3"/>
          <p:cNvSpPr/>
          <p:nvPr/>
        </p:nvSpPr>
        <p:spPr>
          <a:xfrm>
            <a:off x="7365057" y="3473260"/>
            <a:ext cx="49163" cy="49290"/>
          </a:xfrm>
          <a:custGeom>
            <a:avLst/>
            <a:gdLst>
              <a:gd name="connsiteX0" fmla="*/ 43815 w 50165"/>
              <a:gd name="connsiteY0" fmla="*/ 18414 h 50291"/>
              <a:gd name="connsiteX1" fmla="*/ 42291 w 50165"/>
              <a:gd name="connsiteY1" fmla="*/ 6350 h 50291"/>
              <a:gd name="connsiteX2" fmla="*/ 7239 w 50165"/>
              <a:gd name="connsiteY2" fmla="*/ 6350 h 50291"/>
              <a:gd name="connsiteX3" fmla="*/ 6604 w 50165"/>
              <a:gd name="connsiteY3" fmla="*/ 12064 h 50291"/>
              <a:gd name="connsiteX4" fmla="*/ 6350 w 50165"/>
              <a:gd name="connsiteY4" fmla="*/ 19050 h 50291"/>
              <a:gd name="connsiteX5" fmla="*/ 8508 w 50165"/>
              <a:gd name="connsiteY5" fmla="*/ 33782 h 50291"/>
              <a:gd name="connsiteX6" fmla="*/ 14985 w 50165"/>
              <a:gd name="connsiteY6" fmla="*/ 41401 h 50291"/>
              <a:gd name="connsiteX7" fmla="*/ 24510 w 50165"/>
              <a:gd name="connsiteY7" fmla="*/ 43941 h 50291"/>
              <a:gd name="connsiteX8" fmla="*/ 38227 w 50165"/>
              <a:gd name="connsiteY8" fmla="*/ 37464 h 50291"/>
              <a:gd name="connsiteX9" fmla="*/ 43815 w 50165"/>
              <a:gd name="connsiteY9" fmla="*/ 18414 h 5029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</a:cxnLst>
            <a:rect l="l" t="t" r="r" b="b"/>
            <a:pathLst>
              <a:path w="50165" h="50291">
                <a:moveTo>
                  <a:pt x="43815" y="18414"/>
                </a:moveTo>
                <a:cubicBezTo>
                  <a:pt x="43815" y="13970"/>
                  <a:pt x="43307" y="9905"/>
                  <a:pt x="42291" y="6350"/>
                </a:cubicBezTo>
                <a:lnTo>
                  <a:pt x="7239" y="6350"/>
                </a:lnTo>
                <a:cubicBezTo>
                  <a:pt x="6984" y="8001"/>
                  <a:pt x="6731" y="9905"/>
                  <a:pt x="6604" y="12064"/>
                </a:cubicBezTo>
                <a:cubicBezTo>
                  <a:pt x="6477" y="14223"/>
                  <a:pt x="6350" y="16509"/>
                  <a:pt x="6350" y="19050"/>
                </a:cubicBezTo>
                <a:cubicBezTo>
                  <a:pt x="6350" y="25653"/>
                  <a:pt x="7111" y="30479"/>
                  <a:pt x="8508" y="33782"/>
                </a:cubicBezTo>
                <a:cubicBezTo>
                  <a:pt x="9906" y="37083"/>
                  <a:pt x="12065" y="39623"/>
                  <a:pt x="14985" y="41401"/>
                </a:cubicBezTo>
                <a:cubicBezTo>
                  <a:pt x="17907" y="43052"/>
                  <a:pt x="21082" y="43941"/>
                  <a:pt x="24510" y="43941"/>
                </a:cubicBezTo>
                <a:cubicBezTo>
                  <a:pt x="29845" y="43941"/>
                  <a:pt x="34417" y="41782"/>
                  <a:pt x="38227" y="37464"/>
                </a:cubicBezTo>
                <a:cubicBezTo>
                  <a:pt x="41909" y="33146"/>
                  <a:pt x="43815" y="26796"/>
                  <a:pt x="43815" y="18414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77" name="Freeform 3"/>
          <p:cNvSpPr/>
          <p:nvPr/>
        </p:nvSpPr>
        <p:spPr>
          <a:xfrm>
            <a:off x="7316764" y="3447619"/>
            <a:ext cx="101812" cy="92979"/>
          </a:xfrm>
          <a:custGeom>
            <a:avLst/>
            <a:gdLst>
              <a:gd name="connsiteX0" fmla="*/ 97535 w 103886"/>
              <a:gd name="connsiteY0" fmla="*/ 6350 h 94868"/>
              <a:gd name="connsiteX1" fmla="*/ 97535 w 103886"/>
              <a:gd name="connsiteY1" fmla="*/ 45719 h 94868"/>
              <a:gd name="connsiteX2" fmla="*/ 96011 w 103886"/>
              <a:gd name="connsiteY2" fmla="*/ 63500 h 94868"/>
              <a:gd name="connsiteX3" fmla="*/ 87503 w 103886"/>
              <a:gd name="connsiteY3" fmla="*/ 78866 h 94868"/>
              <a:gd name="connsiteX4" fmla="*/ 73279 w 103886"/>
              <a:gd name="connsiteY4" fmla="*/ 84200 h 94868"/>
              <a:gd name="connsiteX5" fmla="*/ 61086 w 103886"/>
              <a:gd name="connsiteY5" fmla="*/ 80009 h 94868"/>
              <a:gd name="connsiteX6" fmla="*/ 52959 w 103886"/>
              <a:gd name="connsiteY6" fmla="*/ 67690 h 94868"/>
              <a:gd name="connsiteX7" fmla="*/ 46609 w 103886"/>
              <a:gd name="connsiteY7" fmla="*/ 81914 h 94868"/>
              <a:gd name="connsiteX8" fmla="*/ 31496 w 103886"/>
              <a:gd name="connsiteY8" fmla="*/ 88519 h 94868"/>
              <a:gd name="connsiteX9" fmla="*/ 18415 w 103886"/>
              <a:gd name="connsiteY9" fmla="*/ 84200 h 94868"/>
              <a:gd name="connsiteX10" fmla="*/ 9397 w 103886"/>
              <a:gd name="connsiteY10" fmla="*/ 72389 h 94868"/>
              <a:gd name="connsiteX11" fmla="*/ 6477 w 103886"/>
              <a:gd name="connsiteY11" fmla="*/ 49529 h 94868"/>
              <a:gd name="connsiteX12" fmla="*/ 6350 w 103886"/>
              <a:gd name="connsiteY12" fmla="*/ 6476 h 94868"/>
              <a:gd name="connsiteX13" fmla="*/ 8890 w 103886"/>
              <a:gd name="connsiteY13" fmla="*/ 6476 h 94868"/>
              <a:gd name="connsiteX14" fmla="*/ 8890 w 103886"/>
              <a:gd name="connsiteY14" fmla="*/ 9905 h 94868"/>
              <a:gd name="connsiteX15" fmla="*/ 12572 w 103886"/>
              <a:gd name="connsiteY15" fmla="*/ 18160 h 94868"/>
              <a:gd name="connsiteX16" fmla="*/ 22606 w 103886"/>
              <a:gd name="connsiteY16" fmla="*/ 19684 h 94868"/>
              <a:gd name="connsiteX17" fmla="*/ 81407 w 103886"/>
              <a:gd name="connsiteY17" fmla="*/ 19557 h 94868"/>
              <a:gd name="connsiteX18" fmla="*/ 92075 w 103886"/>
              <a:gd name="connsiteY18" fmla="*/ 17652 h 94868"/>
              <a:gd name="connsiteX19" fmla="*/ 94996 w 103886"/>
              <a:gd name="connsiteY19" fmla="*/ 9778 h 94868"/>
              <a:gd name="connsiteX20" fmla="*/ 94996 w 103886"/>
              <a:gd name="connsiteY20" fmla="*/ 6350 h 94868"/>
              <a:gd name="connsiteX21" fmla="*/ 97535 w 103886"/>
              <a:gd name="connsiteY21" fmla="*/ 6350 h 9486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</a:cxnLst>
            <a:rect l="l" t="t" r="r" b="b"/>
            <a:pathLst>
              <a:path w="103886" h="94868">
                <a:moveTo>
                  <a:pt x="97535" y="6350"/>
                </a:moveTo>
                <a:lnTo>
                  <a:pt x="97535" y="45719"/>
                </a:lnTo>
                <a:cubicBezTo>
                  <a:pt x="97535" y="53085"/>
                  <a:pt x="97028" y="59054"/>
                  <a:pt x="96011" y="63500"/>
                </a:cubicBezTo>
                <a:cubicBezTo>
                  <a:pt x="94360" y="70230"/>
                  <a:pt x="91567" y="75310"/>
                  <a:pt x="87503" y="78866"/>
                </a:cubicBezTo>
                <a:cubicBezTo>
                  <a:pt x="83311" y="82422"/>
                  <a:pt x="78613" y="84200"/>
                  <a:pt x="73279" y="84200"/>
                </a:cubicBezTo>
                <a:cubicBezTo>
                  <a:pt x="68707" y="84200"/>
                  <a:pt x="64643" y="82803"/>
                  <a:pt x="61086" y="80009"/>
                </a:cubicBezTo>
                <a:cubicBezTo>
                  <a:pt x="57404" y="77215"/>
                  <a:pt x="54736" y="73151"/>
                  <a:pt x="52959" y="67690"/>
                </a:cubicBezTo>
                <a:cubicBezTo>
                  <a:pt x="51689" y="74040"/>
                  <a:pt x="49530" y="78739"/>
                  <a:pt x="46609" y="81914"/>
                </a:cubicBezTo>
                <a:cubicBezTo>
                  <a:pt x="42418" y="86232"/>
                  <a:pt x="37465" y="88519"/>
                  <a:pt x="31496" y="88519"/>
                </a:cubicBezTo>
                <a:cubicBezTo>
                  <a:pt x="26923" y="88519"/>
                  <a:pt x="22606" y="86994"/>
                  <a:pt x="18415" y="84200"/>
                </a:cubicBezTo>
                <a:cubicBezTo>
                  <a:pt x="14351" y="81279"/>
                  <a:pt x="11303" y="77342"/>
                  <a:pt x="9397" y="72389"/>
                </a:cubicBezTo>
                <a:cubicBezTo>
                  <a:pt x="7493" y="67436"/>
                  <a:pt x="6477" y="59816"/>
                  <a:pt x="6477" y="49529"/>
                </a:cubicBezTo>
                <a:lnTo>
                  <a:pt x="6350" y="6476"/>
                </a:lnTo>
                <a:lnTo>
                  <a:pt x="8890" y="6476"/>
                </a:lnTo>
                <a:lnTo>
                  <a:pt x="8890" y="9905"/>
                </a:lnTo>
                <a:cubicBezTo>
                  <a:pt x="8890" y="13715"/>
                  <a:pt x="10159" y="16509"/>
                  <a:pt x="12572" y="18160"/>
                </a:cubicBezTo>
                <a:cubicBezTo>
                  <a:pt x="14096" y="19176"/>
                  <a:pt x="17398" y="19684"/>
                  <a:pt x="22606" y="19684"/>
                </a:cubicBezTo>
                <a:lnTo>
                  <a:pt x="81407" y="19557"/>
                </a:lnTo>
                <a:cubicBezTo>
                  <a:pt x="87121" y="19557"/>
                  <a:pt x="90678" y="18922"/>
                  <a:pt x="92075" y="17652"/>
                </a:cubicBezTo>
                <a:cubicBezTo>
                  <a:pt x="94107" y="15875"/>
                  <a:pt x="94996" y="13334"/>
                  <a:pt x="94996" y="9778"/>
                </a:cubicBezTo>
                <a:lnTo>
                  <a:pt x="94996" y="6350"/>
                </a:lnTo>
                <a:lnTo>
                  <a:pt x="97535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78" name="Freeform 3"/>
          <p:cNvSpPr/>
          <p:nvPr/>
        </p:nvSpPr>
        <p:spPr>
          <a:xfrm>
            <a:off x="7349997" y="3555037"/>
            <a:ext cx="49039" cy="43067"/>
          </a:xfrm>
          <a:custGeom>
            <a:avLst/>
            <a:gdLst>
              <a:gd name="connsiteX0" fmla="*/ 43687 w 50038"/>
              <a:gd name="connsiteY0" fmla="*/ 23368 h 43942"/>
              <a:gd name="connsiteX1" fmla="*/ 7365 w 50038"/>
              <a:gd name="connsiteY1" fmla="*/ 6350 h 43942"/>
              <a:gd name="connsiteX2" fmla="*/ 6350 w 50038"/>
              <a:gd name="connsiteY2" fmla="*/ 37592 h 43942"/>
              <a:gd name="connsiteX3" fmla="*/ 43687 w 50038"/>
              <a:gd name="connsiteY3" fmla="*/ 23368 h 43942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</a:cxnLst>
            <a:rect l="l" t="t" r="r" b="b"/>
            <a:pathLst>
              <a:path w="50038" h="43942">
                <a:moveTo>
                  <a:pt x="43687" y="23368"/>
                </a:moveTo>
                <a:lnTo>
                  <a:pt x="7365" y="6350"/>
                </a:lnTo>
                <a:lnTo>
                  <a:pt x="6350" y="37592"/>
                </a:lnTo>
                <a:lnTo>
                  <a:pt x="43687" y="23368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79" name="Freeform 3"/>
          <p:cNvSpPr/>
          <p:nvPr/>
        </p:nvSpPr>
        <p:spPr>
          <a:xfrm>
            <a:off x="7314152" y="3525787"/>
            <a:ext cx="105172" cy="107294"/>
          </a:xfrm>
          <a:custGeom>
            <a:avLst/>
            <a:gdLst>
              <a:gd name="connsiteX0" fmla="*/ 100964 w 107315"/>
              <a:gd name="connsiteY0" fmla="*/ 56260 h 109473"/>
              <a:gd name="connsiteX1" fmla="*/ 100964 w 107315"/>
              <a:gd name="connsiteY1" fmla="*/ 58673 h 109473"/>
              <a:gd name="connsiteX2" fmla="*/ 24129 w 107315"/>
              <a:gd name="connsiteY2" fmla="*/ 88010 h 109473"/>
              <a:gd name="connsiteX3" fmla="*/ 12064 w 107315"/>
              <a:gd name="connsiteY3" fmla="*/ 94614 h 109473"/>
              <a:gd name="connsiteX4" fmla="*/ 8763 w 107315"/>
              <a:gd name="connsiteY4" fmla="*/ 103123 h 109473"/>
              <a:gd name="connsiteX5" fmla="*/ 6350 w 107315"/>
              <a:gd name="connsiteY5" fmla="*/ 103123 h 109473"/>
              <a:gd name="connsiteX6" fmla="*/ 7365 w 107315"/>
              <a:gd name="connsiteY6" fmla="*/ 67182 h 109473"/>
              <a:gd name="connsiteX7" fmla="*/ 9905 w 107315"/>
              <a:gd name="connsiteY7" fmla="*/ 67309 h 109473"/>
              <a:gd name="connsiteX8" fmla="*/ 11556 w 107315"/>
              <a:gd name="connsiteY8" fmla="*/ 74676 h 109473"/>
              <a:gd name="connsiteX9" fmla="*/ 15239 w 107315"/>
              <a:gd name="connsiteY9" fmla="*/ 76707 h 109473"/>
              <a:gd name="connsiteX10" fmla="*/ 24638 w 107315"/>
              <a:gd name="connsiteY10" fmla="*/ 74294 h 109473"/>
              <a:gd name="connsiteX11" fmla="*/ 37845 w 107315"/>
              <a:gd name="connsiteY11" fmla="*/ 69214 h 109473"/>
              <a:gd name="connsiteX12" fmla="*/ 38988 w 107315"/>
              <a:gd name="connsiteY12" fmla="*/ 33908 h 109473"/>
              <a:gd name="connsiteX13" fmla="*/ 24764 w 107315"/>
              <a:gd name="connsiteY13" fmla="*/ 27304 h 109473"/>
              <a:gd name="connsiteX14" fmla="*/ 16890 w 107315"/>
              <a:gd name="connsiteY14" fmla="*/ 24764 h 109473"/>
              <a:gd name="connsiteX15" fmla="*/ 13207 w 107315"/>
              <a:gd name="connsiteY15" fmla="*/ 26669 h 109473"/>
              <a:gd name="connsiteX16" fmla="*/ 10921 w 107315"/>
              <a:gd name="connsiteY16" fmla="*/ 35178 h 109473"/>
              <a:gd name="connsiteX17" fmla="*/ 8381 w 107315"/>
              <a:gd name="connsiteY17" fmla="*/ 35051 h 109473"/>
              <a:gd name="connsiteX18" fmla="*/ 9270 w 107315"/>
              <a:gd name="connsiteY18" fmla="*/ 6350 h 109473"/>
              <a:gd name="connsiteX19" fmla="*/ 11810 w 107315"/>
              <a:gd name="connsiteY19" fmla="*/ 6476 h 109473"/>
              <a:gd name="connsiteX20" fmla="*/ 14223 w 107315"/>
              <a:gd name="connsiteY20" fmla="*/ 13969 h 109473"/>
              <a:gd name="connsiteX21" fmla="*/ 27051 w 107315"/>
              <a:gd name="connsiteY21" fmla="*/ 21970 h 109473"/>
              <a:gd name="connsiteX22" fmla="*/ 100964 w 107315"/>
              <a:gd name="connsiteY22" fmla="*/ 56260 h 1094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</a:cxnLst>
            <a:rect l="l" t="t" r="r" b="b"/>
            <a:pathLst>
              <a:path w="107315" h="109473">
                <a:moveTo>
                  <a:pt x="100964" y="56260"/>
                </a:moveTo>
                <a:lnTo>
                  <a:pt x="100964" y="58673"/>
                </a:lnTo>
                <a:lnTo>
                  <a:pt x="24129" y="88010"/>
                </a:lnTo>
                <a:cubicBezTo>
                  <a:pt x="18033" y="90423"/>
                  <a:pt x="13969" y="92582"/>
                  <a:pt x="12064" y="94614"/>
                </a:cubicBezTo>
                <a:cubicBezTo>
                  <a:pt x="10286" y="96646"/>
                  <a:pt x="9143" y="99440"/>
                  <a:pt x="8763" y="103123"/>
                </a:cubicBezTo>
                <a:lnTo>
                  <a:pt x="6350" y="103123"/>
                </a:lnTo>
                <a:lnTo>
                  <a:pt x="7365" y="67182"/>
                </a:lnTo>
                <a:lnTo>
                  <a:pt x="9905" y="67309"/>
                </a:lnTo>
                <a:cubicBezTo>
                  <a:pt x="10032" y="70865"/>
                  <a:pt x="10540" y="73405"/>
                  <a:pt x="11556" y="74676"/>
                </a:cubicBezTo>
                <a:cubicBezTo>
                  <a:pt x="12445" y="75945"/>
                  <a:pt x="13715" y="76707"/>
                  <a:pt x="15239" y="76707"/>
                </a:cubicBezTo>
                <a:cubicBezTo>
                  <a:pt x="17144" y="76707"/>
                  <a:pt x="20319" y="75945"/>
                  <a:pt x="24638" y="74294"/>
                </a:cubicBezTo>
                <a:lnTo>
                  <a:pt x="37845" y="69214"/>
                </a:lnTo>
                <a:lnTo>
                  <a:pt x="38988" y="33908"/>
                </a:lnTo>
                <a:lnTo>
                  <a:pt x="24764" y="27304"/>
                </a:lnTo>
                <a:cubicBezTo>
                  <a:pt x="21335" y="25653"/>
                  <a:pt x="18668" y="24764"/>
                  <a:pt x="16890" y="24764"/>
                </a:cubicBezTo>
                <a:cubicBezTo>
                  <a:pt x="15620" y="24764"/>
                  <a:pt x="14351" y="25400"/>
                  <a:pt x="13207" y="26669"/>
                </a:cubicBezTo>
                <a:cubicBezTo>
                  <a:pt x="12191" y="27939"/>
                  <a:pt x="11302" y="30733"/>
                  <a:pt x="10921" y="35178"/>
                </a:cubicBezTo>
                <a:lnTo>
                  <a:pt x="8381" y="35051"/>
                </a:lnTo>
                <a:lnTo>
                  <a:pt x="9270" y="6350"/>
                </a:lnTo>
                <a:lnTo>
                  <a:pt x="11810" y="6476"/>
                </a:lnTo>
                <a:cubicBezTo>
                  <a:pt x="12318" y="10286"/>
                  <a:pt x="13207" y="12826"/>
                  <a:pt x="14223" y="13969"/>
                </a:cubicBezTo>
                <a:cubicBezTo>
                  <a:pt x="16255" y="16255"/>
                  <a:pt x="20573" y="18922"/>
                  <a:pt x="27051" y="21970"/>
                </a:cubicBezTo>
                <a:lnTo>
                  <a:pt x="100964" y="5626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80" name="Freeform 3"/>
          <p:cNvSpPr/>
          <p:nvPr/>
        </p:nvSpPr>
        <p:spPr>
          <a:xfrm>
            <a:off x="7307804" y="3621257"/>
            <a:ext cx="107785" cy="110655"/>
          </a:xfrm>
          <a:custGeom>
            <a:avLst/>
            <a:gdLst>
              <a:gd name="connsiteX0" fmla="*/ 103631 w 109981"/>
              <a:gd name="connsiteY0" fmla="*/ 12573 h 112903"/>
              <a:gd name="connsiteX1" fmla="*/ 101091 w 109981"/>
              <a:gd name="connsiteY1" fmla="*/ 51435 h 112903"/>
              <a:gd name="connsiteX2" fmla="*/ 98552 w 109981"/>
              <a:gd name="connsiteY2" fmla="*/ 51308 h 112903"/>
              <a:gd name="connsiteX3" fmla="*/ 98805 w 109981"/>
              <a:gd name="connsiteY3" fmla="*/ 48005 h 112903"/>
              <a:gd name="connsiteX4" fmla="*/ 97663 w 109981"/>
              <a:gd name="connsiteY4" fmla="*/ 41783 h 112903"/>
              <a:gd name="connsiteX5" fmla="*/ 94615 w 109981"/>
              <a:gd name="connsiteY5" fmla="*/ 38735 h 112903"/>
              <a:gd name="connsiteX6" fmla="*/ 85725 w 109981"/>
              <a:gd name="connsiteY6" fmla="*/ 37338 h 112903"/>
              <a:gd name="connsiteX7" fmla="*/ 59690 w 109981"/>
              <a:gd name="connsiteY7" fmla="*/ 35560 h 112903"/>
              <a:gd name="connsiteX8" fmla="*/ 56895 w 109981"/>
              <a:gd name="connsiteY8" fmla="*/ 77723 h 112903"/>
              <a:gd name="connsiteX9" fmla="*/ 82930 w 109981"/>
              <a:gd name="connsiteY9" fmla="*/ 79502 h 112903"/>
              <a:gd name="connsiteX10" fmla="*/ 92075 w 109981"/>
              <a:gd name="connsiteY10" fmla="*/ 79248 h 112903"/>
              <a:gd name="connsiteX11" fmla="*/ 95250 w 109981"/>
              <a:gd name="connsiteY11" fmla="*/ 76708 h 112903"/>
              <a:gd name="connsiteX12" fmla="*/ 97281 w 109981"/>
              <a:gd name="connsiteY12" fmla="*/ 70739 h 112903"/>
              <a:gd name="connsiteX13" fmla="*/ 97408 w 109981"/>
              <a:gd name="connsiteY13" fmla="*/ 67436 h 112903"/>
              <a:gd name="connsiteX14" fmla="*/ 99948 w 109981"/>
              <a:gd name="connsiteY14" fmla="*/ 67564 h 112903"/>
              <a:gd name="connsiteX15" fmla="*/ 97281 w 109981"/>
              <a:gd name="connsiteY15" fmla="*/ 106553 h 112903"/>
              <a:gd name="connsiteX16" fmla="*/ 94868 w 109981"/>
              <a:gd name="connsiteY16" fmla="*/ 106298 h 112903"/>
              <a:gd name="connsiteX17" fmla="*/ 94995 w 109981"/>
              <a:gd name="connsiteY17" fmla="*/ 103123 h 112903"/>
              <a:gd name="connsiteX18" fmla="*/ 93853 w 109981"/>
              <a:gd name="connsiteY18" fmla="*/ 96901 h 112903"/>
              <a:gd name="connsiteX19" fmla="*/ 90804 w 109981"/>
              <a:gd name="connsiteY19" fmla="*/ 93726 h 112903"/>
              <a:gd name="connsiteX20" fmla="*/ 82041 w 109981"/>
              <a:gd name="connsiteY20" fmla="*/ 92455 h 112903"/>
              <a:gd name="connsiteX21" fmla="*/ 23367 w 109981"/>
              <a:gd name="connsiteY21" fmla="*/ 88392 h 112903"/>
              <a:gd name="connsiteX22" fmla="*/ 14223 w 109981"/>
              <a:gd name="connsiteY22" fmla="*/ 88646 h 112903"/>
              <a:gd name="connsiteX23" fmla="*/ 11048 w 109981"/>
              <a:gd name="connsiteY23" fmla="*/ 91185 h 112903"/>
              <a:gd name="connsiteX24" fmla="*/ 9016 w 109981"/>
              <a:gd name="connsiteY24" fmla="*/ 97282 h 112903"/>
              <a:gd name="connsiteX25" fmla="*/ 8890 w 109981"/>
              <a:gd name="connsiteY25" fmla="*/ 100457 h 112903"/>
              <a:gd name="connsiteX26" fmla="*/ 6350 w 109981"/>
              <a:gd name="connsiteY26" fmla="*/ 100329 h 112903"/>
              <a:gd name="connsiteX27" fmla="*/ 9016 w 109981"/>
              <a:gd name="connsiteY27" fmla="*/ 61467 h 112903"/>
              <a:gd name="connsiteX28" fmla="*/ 11429 w 109981"/>
              <a:gd name="connsiteY28" fmla="*/ 61595 h 112903"/>
              <a:gd name="connsiteX29" fmla="*/ 11303 w 109981"/>
              <a:gd name="connsiteY29" fmla="*/ 64897 h 112903"/>
              <a:gd name="connsiteX30" fmla="*/ 13969 w 109981"/>
              <a:gd name="connsiteY30" fmla="*/ 73152 h 112903"/>
              <a:gd name="connsiteX31" fmla="*/ 24256 w 109981"/>
              <a:gd name="connsiteY31" fmla="*/ 75565 h 112903"/>
              <a:gd name="connsiteX32" fmla="*/ 51942 w 109981"/>
              <a:gd name="connsiteY32" fmla="*/ 77470 h 112903"/>
              <a:gd name="connsiteX33" fmla="*/ 54736 w 109981"/>
              <a:gd name="connsiteY33" fmla="*/ 35179 h 112903"/>
              <a:gd name="connsiteX34" fmla="*/ 27051 w 109981"/>
              <a:gd name="connsiteY34" fmla="*/ 33273 h 112903"/>
              <a:gd name="connsiteX35" fmla="*/ 17906 w 109981"/>
              <a:gd name="connsiteY35" fmla="*/ 33528 h 112903"/>
              <a:gd name="connsiteX36" fmla="*/ 14858 w 109981"/>
              <a:gd name="connsiteY36" fmla="*/ 36195 h 112903"/>
              <a:gd name="connsiteX37" fmla="*/ 12827 w 109981"/>
              <a:gd name="connsiteY37" fmla="*/ 42164 h 112903"/>
              <a:gd name="connsiteX38" fmla="*/ 12572 w 109981"/>
              <a:gd name="connsiteY38" fmla="*/ 45466 h 112903"/>
              <a:gd name="connsiteX39" fmla="*/ 10159 w 109981"/>
              <a:gd name="connsiteY39" fmla="*/ 45339 h 112903"/>
              <a:gd name="connsiteX40" fmla="*/ 12700 w 109981"/>
              <a:gd name="connsiteY40" fmla="*/ 6350 h 112903"/>
              <a:gd name="connsiteX41" fmla="*/ 15240 w 109981"/>
              <a:gd name="connsiteY41" fmla="*/ 6477 h 112903"/>
              <a:gd name="connsiteX42" fmla="*/ 14985 w 109981"/>
              <a:gd name="connsiteY42" fmla="*/ 9779 h 112903"/>
              <a:gd name="connsiteX43" fmla="*/ 17779 w 109981"/>
              <a:gd name="connsiteY43" fmla="*/ 18160 h 112903"/>
              <a:gd name="connsiteX44" fmla="*/ 27940 w 109981"/>
              <a:gd name="connsiteY44" fmla="*/ 20447 h 112903"/>
              <a:gd name="connsiteX45" fmla="*/ 86614 w 109981"/>
              <a:gd name="connsiteY45" fmla="*/ 24384 h 112903"/>
              <a:gd name="connsiteX46" fmla="*/ 95884 w 109981"/>
              <a:gd name="connsiteY46" fmla="*/ 24129 h 112903"/>
              <a:gd name="connsiteX47" fmla="*/ 98932 w 109981"/>
              <a:gd name="connsiteY47" fmla="*/ 21590 h 112903"/>
              <a:gd name="connsiteX48" fmla="*/ 100965 w 109981"/>
              <a:gd name="connsiteY48" fmla="*/ 15621 h 112903"/>
              <a:gd name="connsiteX49" fmla="*/ 101218 w 109981"/>
              <a:gd name="connsiteY49" fmla="*/ 12319 h 112903"/>
              <a:gd name="connsiteX50" fmla="*/ 103631 w 109981"/>
              <a:gd name="connsiteY50" fmla="*/ 12573 h 11290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  <a:cxn ang="36">
                <a:pos x="connsiteX36" y="connsiteY36"/>
              </a:cxn>
              <a:cxn ang="37">
                <a:pos x="connsiteX37" y="connsiteY37"/>
              </a:cxn>
              <a:cxn ang="38">
                <a:pos x="connsiteX38" y="connsiteY38"/>
              </a:cxn>
              <a:cxn ang="39">
                <a:pos x="connsiteX39" y="connsiteY39"/>
              </a:cxn>
              <a:cxn ang="40">
                <a:pos x="connsiteX40" y="connsiteY40"/>
              </a:cxn>
              <a:cxn ang="41">
                <a:pos x="connsiteX41" y="connsiteY41"/>
              </a:cxn>
              <a:cxn ang="42">
                <a:pos x="connsiteX42" y="connsiteY42"/>
              </a:cxn>
              <a:cxn ang="43">
                <a:pos x="connsiteX43" y="connsiteY43"/>
              </a:cxn>
              <a:cxn ang="44">
                <a:pos x="connsiteX44" y="connsiteY44"/>
              </a:cxn>
              <a:cxn ang="45">
                <a:pos x="connsiteX45" y="connsiteY45"/>
              </a:cxn>
              <a:cxn ang="46">
                <a:pos x="connsiteX46" y="connsiteY46"/>
              </a:cxn>
              <a:cxn ang="47">
                <a:pos x="connsiteX47" y="connsiteY47"/>
              </a:cxn>
              <a:cxn ang="48">
                <a:pos x="connsiteX48" y="connsiteY48"/>
              </a:cxn>
              <a:cxn ang="49">
                <a:pos x="connsiteX49" y="connsiteY49"/>
              </a:cxn>
              <a:cxn ang="50">
                <a:pos x="connsiteX50" y="connsiteY50"/>
              </a:cxn>
            </a:cxnLst>
            <a:rect l="l" t="t" r="r" b="b"/>
            <a:pathLst>
              <a:path w="109981" h="112903">
                <a:moveTo>
                  <a:pt x="103631" y="12573"/>
                </a:moveTo>
                <a:lnTo>
                  <a:pt x="101091" y="51435"/>
                </a:lnTo>
                <a:lnTo>
                  <a:pt x="98552" y="51308"/>
                </a:lnTo>
                <a:lnTo>
                  <a:pt x="98805" y="48005"/>
                </a:lnTo>
                <a:cubicBezTo>
                  <a:pt x="98932" y="45847"/>
                  <a:pt x="98552" y="43815"/>
                  <a:pt x="97663" y="41783"/>
                </a:cubicBezTo>
                <a:cubicBezTo>
                  <a:pt x="97028" y="40385"/>
                  <a:pt x="96011" y="39370"/>
                  <a:pt x="94615" y="38735"/>
                </a:cubicBezTo>
                <a:cubicBezTo>
                  <a:pt x="93217" y="38100"/>
                  <a:pt x="90169" y="37592"/>
                  <a:pt x="85725" y="37338"/>
                </a:cubicBezTo>
                <a:lnTo>
                  <a:pt x="59690" y="35560"/>
                </a:lnTo>
                <a:lnTo>
                  <a:pt x="56895" y="77723"/>
                </a:lnTo>
                <a:lnTo>
                  <a:pt x="82930" y="79502"/>
                </a:lnTo>
                <a:cubicBezTo>
                  <a:pt x="87503" y="79883"/>
                  <a:pt x="90678" y="79755"/>
                  <a:pt x="92075" y="79248"/>
                </a:cubicBezTo>
                <a:cubicBezTo>
                  <a:pt x="93344" y="78867"/>
                  <a:pt x="94360" y="78104"/>
                  <a:pt x="95250" y="76708"/>
                </a:cubicBezTo>
                <a:cubicBezTo>
                  <a:pt x="96392" y="74803"/>
                  <a:pt x="97028" y="72771"/>
                  <a:pt x="97281" y="70739"/>
                </a:cubicBezTo>
                <a:lnTo>
                  <a:pt x="97408" y="67436"/>
                </a:lnTo>
                <a:lnTo>
                  <a:pt x="99948" y="67564"/>
                </a:lnTo>
                <a:lnTo>
                  <a:pt x="97281" y="106553"/>
                </a:lnTo>
                <a:lnTo>
                  <a:pt x="94868" y="106298"/>
                </a:lnTo>
                <a:lnTo>
                  <a:pt x="94995" y="103123"/>
                </a:lnTo>
                <a:cubicBezTo>
                  <a:pt x="95122" y="100965"/>
                  <a:pt x="94741" y="98933"/>
                  <a:pt x="93853" y="96901"/>
                </a:cubicBezTo>
                <a:cubicBezTo>
                  <a:pt x="93344" y="95504"/>
                  <a:pt x="92328" y="94360"/>
                  <a:pt x="90804" y="93726"/>
                </a:cubicBezTo>
                <a:cubicBezTo>
                  <a:pt x="89407" y="93217"/>
                  <a:pt x="86486" y="92710"/>
                  <a:pt x="82041" y="92455"/>
                </a:cubicBezTo>
                <a:lnTo>
                  <a:pt x="23367" y="88392"/>
                </a:lnTo>
                <a:cubicBezTo>
                  <a:pt x="18795" y="88138"/>
                  <a:pt x="15747" y="88265"/>
                  <a:pt x="14223" y="88646"/>
                </a:cubicBezTo>
                <a:cubicBezTo>
                  <a:pt x="13080" y="89027"/>
                  <a:pt x="11938" y="89916"/>
                  <a:pt x="11048" y="91185"/>
                </a:cubicBezTo>
                <a:cubicBezTo>
                  <a:pt x="9905" y="93091"/>
                  <a:pt x="9270" y="95123"/>
                  <a:pt x="9016" y="97282"/>
                </a:cubicBezTo>
                <a:lnTo>
                  <a:pt x="8890" y="100457"/>
                </a:lnTo>
                <a:lnTo>
                  <a:pt x="6350" y="100329"/>
                </a:lnTo>
                <a:lnTo>
                  <a:pt x="9016" y="61467"/>
                </a:lnTo>
                <a:lnTo>
                  <a:pt x="11429" y="61595"/>
                </a:lnTo>
                <a:lnTo>
                  <a:pt x="11303" y="64897"/>
                </a:lnTo>
                <a:cubicBezTo>
                  <a:pt x="11048" y="68579"/>
                  <a:pt x="11938" y="71373"/>
                  <a:pt x="13969" y="73152"/>
                </a:cubicBezTo>
                <a:cubicBezTo>
                  <a:pt x="15366" y="74422"/>
                  <a:pt x="18795" y="75184"/>
                  <a:pt x="24256" y="75565"/>
                </a:cubicBezTo>
                <a:lnTo>
                  <a:pt x="51942" y="77470"/>
                </a:lnTo>
                <a:lnTo>
                  <a:pt x="54736" y="35179"/>
                </a:lnTo>
                <a:lnTo>
                  <a:pt x="27051" y="33273"/>
                </a:lnTo>
                <a:cubicBezTo>
                  <a:pt x="22478" y="33020"/>
                  <a:pt x="19430" y="33147"/>
                  <a:pt x="17906" y="33528"/>
                </a:cubicBezTo>
                <a:cubicBezTo>
                  <a:pt x="16764" y="33909"/>
                  <a:pt x="15747" y="34798"/>
                  <a:pt x="14858" y="36195"/>
                </a:cubicBezTo>
                <a:cubicBezTo>
                  <a:pt x="13589" y="38100"/>
                  <a:pt x="12953" y="40004"/>
                  <a:pt x="12827" y="42164"/>
                </a:cubicBezTo>
                <a:lnTo>
                  <a:pt x="12572" y="45466"/>
                </a:lnTo>
                <a:lnTo>
                  <a:pt x="10159" y="45339"/>
                </a:lnTo>
                <a:lnTo>
                  <a:pt x="12700" y="6350"/>
                </a:lnTo>
                <a:lnTo>
                  <a:pt x="15240" y="6477"/>
                </a:lnTo>
                <a:lnTo>
                  <a:pt x="14985" y="9779"/>
                </a:lnTo>
                <a:cubicBezTo>
                  <a:pt x="14731" y="13461"/>
                  <a:pt x="15620" y="16255"/>
                  <a:pt x="17779" y="18160"/>
                </a:cubicBezTo>
                <a:cubicBezTo>
                  <a:pt x="19050" y="19304"/>
                  <a:pt x="22478" y="20066"/>
                  <a:pt x="27940" y="20447"/>
                </a:cubicBezTo>
                <a:lnTo>
                  <a:pt x="86614" y="24384"/>
                </a:lnTo>
                <a:cubicBezTo>
                  <a:pt x="91313" y="24765"/>
                  <a:pt x="94360" y="24638"/>
                  <a:pt x="95884" y="24129"/>
                </a:cubicBezTo>
                <a:cubicBezTo>
                  <a:pt x="97028" y="23748"/>
                  <a:pt x="98043" y="22986"/>
                  <a:pt x="98932" y="21590"/>
                </a:cubicBezTo>
                <a:cubicBezTo>
                  <a:pt x="100203" y="19685"/>
                  <a:pt x="100838" y="17653"/>
                  <a:pt x="100965" y="15621"/>
                </a:cubicBezTo>
                <a:lnTo>
                  <a:pt x="101218" y="12319"/>
                </a:lnTo>
                <a:lnTo>
                  <a:pt x="103631" y="12573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81" name="Freeform 3"/>
          <p:cNvSpPr/>
          <p:nvPr/>
        </p:nvSpPr>
        <p:spPr>
          <a:xfrm>
            <a:off x="7297846" y="3715356"/>
            <a:ext cx="111146" cy="113891"/>
          </a:xfrm>
          <a:custGeom>
            <a:avLst/>
            <a:gdLst>
              <a:gd name="connsiteX0" fmla="*/ 107060 w 113410"/>
              <a:gd name="connsiteY0" fmla="*/ 16002 h 116204"/>
              <a:gd name="connsiteX1" fmla="*/ 102869 w 113410"/>
              <a:gd name="connsiteY1" fmla="*/ 55117 h 116204"/>
              <a:gd name="connsiteX2" fmla="*/ 100329 w 113410"/>
              <a:gd name="connsiteY2" fmla="*/ 54864 h 116204"/>
              <a:gd name="connsiteX3" fmla="*/ 98805 w 113410"/>
              <a:gd name="connsiteY3" fmla="*/ 43688 h 116204"/>
              <a:gd name="connsiteX4" fmla="*/ 87756 w 113410"/>
              <a:gd name="connsiteY4" fmla="*/ 40132 h 116204"/>
              <a:gd name="connsiteX5" fmla="*/ 35559 w 113410"/>
              <a:gd name="connsiteY5" fmla="*/ 34544 h 116204"/>
              <a:gd name="connsiteX6" fmla="*/ 84835 w 113410"/>
              <a:gd name="connsiteY6" fmla="*/ 82296 h 116204"/>
              <a:gd name="connsiteX7" fmla="*/ 95376 w 113410"/>
              <a:gd name="connsiteY7" fmla="*/ 80772 h 116204"/>
              <a:gd name="connsiteX8" fmla="*/ 98678 w 113410"/>
              <a:gd name="connsiteY8" fmla="*/ 70358 h 116204"/>
              <a:gd name="connsiteX9" fmla="*/ 101218 w 113410"/>
              <a:gd name="connsiteY9" fmla="*/ 70611 h 116204"/>
              <a:gd name="connsiteX10" fmla="*/ 97027 w 113410"/>
              <a:gd name="connsiteY10" fmla="*/ 109855 h 116204"/>
              <a:gd name="connsiteX11" fmla="*/ 94488 w 113410"/>
              <a:gd name="connsiteY11" fmla="*/ 109601 h 116204"/>
              <a:gd name="connsiteX12" fmla="*/ 92963 w 113410"/>
              <a:gd name="connsiteY12" fmla="*/ 98552 h 116204"/>
              <a:gd name="connsiteX13" fmla="*/ 81914 w 113410"/>
              <a:gd name="connsiteY13" fmla="*/ 94996 h 116204"/>
              <a:gd name="connsiteX14" fmla="*/ 24256 w 113410"/>
              <a:gd name="connsiteY14" fmla="*/ 88900 h 116204"/>
              <a:gd name="connsiteX15" fmla="*/ 12700 w 113410"/>
              <a:gd name="connsiteY15" fmla="*/ 90042 h 116204"/>
              <a:gd name="connsiteX16" fmla="*/ 8889 w 113410"/>
              <a:gd name="connsiteY16" fmla="*/ 100457 h 116204"/>
              <a:gd name="connsiteX17" fmla="*/ 6350 w 113410"/>
              <a:gd name="connsiteY17" fmla="*/ 100203 h 116204"/>
              <a:gd name="connsiteX18" fmla="*/ 10540 w 113410"/>
              <a:gd name="connsiteY18" fmla="*/ 60960 h 116204"/>
              <a:gd name="connsiteX19" fmla="*/ 13080 w 113410"/>
              <a:gd name="connsiteY19" fmla="*/ 61214 h 116204"/>
              <a:gd name="connsiteX20" fmla="*/ 14604 w 113410"/>
              <a:gd name="connsiteY20" fmla="*/ 72517 h 116204"/>
              <a:gd name="connsiteX21" fmla="*/ 25653 w 113410"/>
              <a:gd name="connsiteY21" fmla="*/ 76073 h 116204"/>
              <a:gd name="connsiteX22" fmla="*/ 77596 w 113410"/>
              <a:gd name="connsiteY22" fmla="*/ 81534 h 116204"/>
              <a:gd name="connsiteX23" fmla="*/ 28320 w 113410"/>
              <a:gd name="connsiteY23" fmla="*/ 33782 h 116204"/>
              <a:gd name="connsiteX24" fmla="*/ 20446 w 113410"/>
              <a:gd name="connsiteY24" fmla="*/ 33782 h 116204"/>
              <a:gd name="connsiteX25" fmla="*/ 16890 w 113410"/>
              <a:gd name="connsiteY25" fmla="*/ 36703 h 116204"/>
              <a:gd name="connsiteX26" fmla="*/ 14731 w 113410"/>
              <a:gd name="connsiteY26" fmla="*/ 45720 h 116204"/>
              <a:gd name="connsiteX27" fmla="*/ 12191 w 113410"/>
              <a:gd name="connsiteY27" fmla="*/ 45466 h 116204"/>
              <a:gd name="connsiteX28" fmla="*/ 16382 w 113410"/>
              <a:gd name="connsiteY28" fmla="*/ 6350 h 116204"/>
              <a:gd name="connsiteX29" fmla="*/ 18922 w 113410"/>
              <a:gd name="connsiteY29" fmla="*/ 6604 h 116204"/>
              <a:gd name="connsiteX30" fmla="*/ 20446 w 113410"/>
              <a:gd name="connsiteY30" fmla="*/ 17653 h 116204"/>
              <a:gd name="connsiteX31" fmla="*/ 31495 w 113410"/>
              <a:gd name="connsiteY31" fmla="*/ 21209 h 116204"/>
              <a:gd name="connsiteX32" fmla="*/ 89153 w 113410"/>
              <a:gd name="connsiteY32" fmla="*/ 27305 h 116204"/>
              <a:gd name="connsiteX33" fmla="*/ 100710 w 113410"/>
              <a:gd name="connsiteY33" fmla="*/ 26161 h 116204"/>
              <a:gd name="connsiteX34" fmla="*/ 104520 w 113410"/>
              <a:gd name="connsiteY34" fmla="*/ 15748 h 116204"/>
              <a:gd name="connsiteX35" fmla="*/ 107060 w 113410"/>
              <a:gd name="connsiteY35" fmla="*/ 16002 h 11620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</a:cxnLst>
            <a:rect l="l" t="t" r="r" b="b"/>
            <a:pathLst>
              <a:path w="113410" h="116204">
                <a:moveTo>
                  <a:pt x="107060" y="16002"/>
                </a:moveTo>
                <a:lnTo>
                  <a:pt x="102869" y="55117"/>
                </a:lnTo>
                <a:lnTo>
                  <a:pt x="100329" y="54864"/>
                </a:lnTo>
                <a:cubicBezTo>
                  <a:pt x="100838" y="49148"/>
                  <a:pt x="100329" y="45466"/>
                  <a:pt x="98805" y="43688"/>
                </a:cubicBezTo>
                <a:cubicBezTo>
                  <a:pt x="97408" y="41910"/>
                  <a:pt x="93725" y="40767"/>
                  <a:pt x="87756" y="40132"/>
                </a:cubicBezTo>
                <a:lnTo>
                  <a:pt x="35559" y="34544"/>
                </a:lnTo>
                <a:lnTo>
                  <a:pt x="84835" y="82296"/>
                </a:lnTo>
                <a:cubicBezTo>
                  <a:pt x="90296" y="82930"/>
                  <a:pt x="93725" y="82423"/>
                  <a:pt x="95376" y="80772"/>
                </a:cubicBezTo>
                <a:cubicBezTo>
                  <a:pt x="97027" y="79248"/>
                  <a:pt x="98170" y="75692"/>
                  <a:pt x="98678" y="70358"/>
                </a:cubicBezTo>
                <a:lnTo>
                  <a:pt x="101218" y="70611"/>
                </a:lnTo>
                <a:lnTo>
                  <a:pt x="97027" y="109855"/>
                </a:lnTo>
                <a:lnTo>
                  <a:pt x="94488" y="109601"/>
                </a:lnTo>
                <a:cubicBezTo>
                  <a:pt x="94995" y="104013"/>
                  <a:pt x="94488" y="100330"/>
                  <a:pt x="92963" y="98552"/>
                </a:cubicBezTo>
                <a:cubicBezTo>
                  <a:pt x="91566" y="96773"/>
                  <a:pt x="87883" y="95630"/>
                  <a:pt x="81914" y="94996"/>
                </a:cubicBezTo>
                <a:lnTo>
                  <a:pt x="24256" y="88900"/>
                </a:lnTo>
                <a:cubicBezTo>
                  <a:pt x="18288" y="88265"/>
                  <a:pt x="14477" y="88646"/>
                  <a:pt x="12700" y="90042"/>
                </a:cubicBezTo>
                <a:cubicBezTo>
                  <a:pt x="10921" y="91440"/>
                  <a:pt x="9651" y="94869"/>
                  <a:pt x="8889" y="100457"/>
                </a:cubicBezTo>
                <a:lnTo>
                  <a:pt x="6350" y="100203"/>
                </a:lnTo>
                <a:lnTo>
                  <a:pt x="10540" y="60960"/>
                </a:lnTo>
                <a:lnTo>
                  <a:pt x="13080" y="61214"/>
                </a:lnTo>
                <a:cubicBezTo>
                  <a:pt x="12572" y="67055"/>
                  <a:pt x="13080" y="70739"/>
                  <a:pt x="14604" y="72517"/>
                </a:cubicBezTo>
                <a:cubicBezTo>
                  <a:pt x="16001" y="74295"/>
                  <a:pt x="19684" y="75438"/>
                  <a:pt x="25653" y="76073"/>
                </a:cubicBezTo>
                <a:lnTo>
                  <a:pt x="77596" y="81534"/>
                </a:lnTo>
                <a:lnTo>
                  <a:pt x="28320" y="33782"/>
                </a:lnTo>
                <a:cubicBezTo>
                  <a:pt x="24383" y="33401"/>
                  <a:pt x="21716" y="33401"/>
                  <a:pt x="20446" y="33782"/>
                </a:cubicBezTo>
                <a:cubicBezTo>
                  <a:pt x="19050" y="34036"/>
                  <a:pt x="17906" y="35052"/>
                  <a:pt x="16890" y="36703"/>
                </a:cubicBezTo>
                <a:cubicBezTo>
                  <a:pt x="16001" y="38354"/>
                  <a:pt x="15239" y="41275"/>
                  <a:pt x="14731" y="45720"/>
                </a:cubicBezTo>
                <a:lnTo>
                  <a:pt x="12191" y="45466"/>
                </a:lnTo>
                <a:lnTo>
                  <a:pt x="16382" y="6350"/>
                </a:lnTo>
                <a:lnTo>
                  <a:pt x="18922" y="6604"/>
                </a:lnTo>
                <a:cubicBezTo>
                  <a:pt x="18414" y="12192"/>
                  <a:pt x="18922" y="15875"/>
                  <a:pt x="20446" y="17653"/>
                </a:cubicBezTo>
                <a:cubicBezTo>
                  <a:pt x="21843" y="19430"/>
                  <a:pt x="25526" y="20573"/>
                  <a:pt x="31495" y="21209"/>
                </a:cubicBezTo>
                <a:lnTo>
                  <a:pt x="89153" y="27305"/>
                </a:lnTo>
                <a:cubicBezTo>
                  <a:pt x="95122" y="27940"/>
                  <a:pt x="98932" y="27559"/>
                  <a:pt x="100710" y="26161"/>
                </a:cubicBezTo>
                <a:cubicBezTo>
                  <a:pt x="102488" y="24765"/>
                  <a:pt x="103758" y="21336"/>
                  <a:pt x="104520" y="15748"/>
                </a:cubicBezTo>
                <a:lnTo>
                  <a:pt x="107060" y="16002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82" name="Freeform 3"/>
          <p:cNvSpPr/>
          <p:nvPr/>
        </p:nvSpPr>
        <p:spPr>
          <a:xfrm>
            <a:off x="7287641" y="3809457"/>
            <a:ext cx="110772" cy="93354"/>
          </a:xfrm>
          <a:custGeom>
            <a:avLst/>
            <a:gdLst>
              <a:gd name="connsiteX0" fmla="*/ 106679 w 113029"/>
              <a:gd name="connsiteY0" fmla="*/ 19430 h 95250"/>
              <a:gd name="connsiteX1" fmla="*/ 96646 w 113029"/>
              <a:gd name="connsiteY1" fmla="*/ 88900 h 95250"/>
              <a:gd name="connsiteX2" fmla="*/ 76707 w 113029"/>
              <a:gd name="connsiteY2" fmla="*/ 87122 h 95250"/>
              <a:gd name="connsiteX3" fmla="*/ 77089 w 113029"/>
              <a:gd name="connsiteY3" fmla="*/ 84455 h 95250"/>
              <a:gd name="connsiteX4" fmla="*/ 87248 w 113029"/>
              <a:gd name="connsiteY4" fmla="*/ 82804 h 95250"/>
              <a:gd name="connsiteX5" fmla="*/ 92075 w 113029"/>
              <a:gd name="connsiteY5" fmla="*/ 78359 h 95250"/>
              <a:gd name="connsiteX6" fmla="*/ 94360 w 113029"/>
              <a:gd name="connsiteY6" fmla="*/ 69088 h 95250"/>
              <a:gd name="connsiteX7" fmla="*/ 98043 w 113029"/>
              <a:gd name="connsiteY7" fmla="*/ 44323 h 95250"/>
              <a:gd name="connsiteX8" fmla="*/ 62356 w 113029"/>
              <a:gd name="connsiteY8" fmla="*/ 39243 h 95250"/>
              <a:gd name="connsiteX9" fmla="*/ 59435 w 113029"/>
              <a:gd name="connsiteY9" fmla="*/ 59055 h 95250"/>
              <a:gd name="connsiteX10" fmla="*/ 60325 w 113029"/>
              <a:gd name="connsiteY10" fmla="*/ 69723 h 95250"/>
              <a:gd name="connsiteX11" fmla="*/ 70484 w 113029"/>
              <a:gd name="connsiteY11" fmla="*/ 75057 h 95250"/>
              <a:gd name="connsiteX12" fmla="*/ 70230 w 113029"/>
              <a:gd name="connsiteY12" fmla="*/ 77597 h 95250"/>
              <a:gd name="connsiteX13" fmla="*/ 38734 w 113029"/>
              <a:gd name="connsiteY13" fmla="*/ 73025 h 95250"/>
              <a:gd name="connsiteX14" fmla="*/ 39115 w 113029"/>
              <a:gd name="connsiteY14" fmla="*/ 70611 h 95250"/>
              <a:gd name="connsiteX15" fmla="*/ 47878 w 113029"/>
              <a:gd name="connsiteY15" fmla="*/ 69977 h 95250"/>
              <a:gd name="connsiteX16" fmla="*/ 52069 w 113029"/>
              <a:gd name="connsiteY16" fmla="*/ 66548 h 95250"/>
              <a:gd name="connsiteX17" fmla="*/ 54609 w 113029"/>
              <a:gd name="connsiteY17" fmla="*/ 58293 h 95250"/>
              <a:gd name="connsiteX18" fmla="*/ 57530 w 113029"/>
              <a:gd name="connsiteY18" fmla="*/ 38480 h 95250"/>
              <a:gd name="connsiteX19" fmla="*/ 27813 w 113029"/>
              <a:gd name="connsiteY19" fmla="*/ 34290 h 95250"/>
              <a:gd name="connsiteX20" fmla="*/ 20446 w 113029"/>
              <a:gd name="connsiteY20" fmla="*/ 33655 h 95250"/>
              <a:gd name="connsiteX21" fmla="*/ 18033 w 113029"/>
              <a:gd name="connsiteY21" fmla="*/ 35305 h 95250"/>
              <a:gd name="connsiteX22" fmla="*/ 16509 w 113029"/>
              <a:gd name="connsiteY22" fmla="*/ 40259 h 95250"/>
              <a:gd name="connsiteX23" fmla="*/ 14351 w 113029"/>
              <a:gd name="connsiteY23" fmla="*/ 55499 h 95250"/>
              <a:gd name="connsiteX24" fmla="*/ 13842 w 113029"/>
              <a:gd name="connsiteY24" fmla="*/ 66802 h 95250"/>
              <a:gd name="connsiteX25" fmla="*/ 17017 w 113029"/>
              <a:gd name="connsiteY25" fmla="*/ 74041 h 95250"/>
              <a:gd name="connsiteX26" fmla="*/ 28320 w 113029"/>
              <a:gd name="connsiteY26" fmla="*/ 84328 h 95250"/>
              <a:gd name="connsiteX27" fmla="*/ 27939 w 113029"/>
              <a:gd name="connsiteY27" fmla="*/ 86995 h 95250"/>
              <a:gd name="connsiteX28" fmla="*/ 6350 w 113029"/>
              <a:gd name="connsiteY28" fmla="*/ 75946 h 95250"/>
              <a:gd name="connsiteX29" fmla="*/ 16382 w 113029"/>
              <a:gd name="connsiteY29" fmla="*/ 6350 h 95250"/>
              <a:gd name="connsiteX30" fmla="*/ 18922 w 113029"/>
              <a:gd name="connsiteY30" fmla="*/ 6730 h 95250"/>
              <a:gd name="connsiteX31" fmla="*/ 18414 w 113029"/>
              <a:gd name="connsiteY31" fmla="*/ 9905 h 95250"/>
              <a:gd name="connsiteX32" fmla="*/ 19050 w 113029"/>
              <a:gd name="connsiteY32" fmla="*/ 16255 h 95250"/>
              <a:gd name="connsiteX33" fmla="*/ 21843 w 113029"/>
              <a:gd name="connsiteY33" fmla="*/ 19558 h 95250"/>
              <a:gd name="connsiteX34" fmla="*/ 30479 w 113029"/>
              <a:gd name="connsiteY34" fmla="*/ 21590 h 95250"/>
              <a:gd name="connsiteX35" fmla="*/ 89027 w 113029"/>
              <a:gd name="connsiteY35" fmla="*/ 30099 h 95250"/>
              <a:gd name="connsiteX36" fmla="*/ 99948 w 113029"/>
              <a:gd name="connsiteY36" fmla="*/ 29845 h 95250"/>
              <a:gd name="connsiteX37" fmla="*/ 103758 w 113029"/>
              <a:gd name="connsiteY37" fmla="*/ 22225 h 95250"/>
              <a:gd name="connsiteX38" fmla="*/ 104139 w 113029"/>
              <a:gd name="connsiteY38" fmla="*/ 19050 h 95250"/>
              <a:gd name="connsiteX39" fmla="*/ 106679 w 113029"/>
              <a:gd name="connsiteY39" fmla="*/ 19430 h 9525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  <a:cxn ang="36">
                <a:pos x="connsiteX36" y="connsiteY36"/>
              </a:cxn>
              <a:cxn ang="37">
                <a:pos x="connsiteX37" y="connsiteY37"/>
              </a:cxn>
              <a:cxn ang="38">
                <a:pos x="connsiteX38" y="connsiteY38"/>
              </a:cxn>
              <a:cxn ang="39">
                <a:pos x="connsiteX39" y="connsiteY39"/>
              </a:cxn>
            </a:cxnLst>
            <a:rect l="l" t="t" r="r" b="b"/>
            <a:pathLst>
              <a:path w="113029" h="95250">
                <a:moveTo>
                  <a:pt x="106679" y="19430"/>
                </a:moveTo>
                <a:lnTo>
                  <a:pt x="96646" y="88900"/>
                </a:lnTo>
                <a:lnTo>
                  <a:pt x="76707" y="87122"/>
                </a:lnTo>
                <a:lnTo>
                  <a:pt x="77089" y="84455"/>
                </a:lnTo>
                <a:cubicBezTo>
                  <a:pt x="81914" y="84201"/>
                  <a:pt x="85343" y="83693"/>
                  <a:pt x="87248" y="82804"/>
                </a:cubicBezTo>
                <a:cubicBezTo>
                  <a:pt x="89280" y="81915"/>
                  <a:pt x="90804" y="80391"/>
                  <a:pt x="92075" y="78359"/>
                </a:cubicBezTo>
                <a:cubicBezTo>
                  <a:pt x="92964" y="76708"/>
                  <a:pt x="93726" y="73660"/>
                  <a:pt x="94360" y="69088"/>
                </a:cubicBezTo>
                <a:lnTo>
                  <a:pt x="98043" y="44323"/>
                </a:lnTo>
                <a:lnTo>
                  <a:pt x="62356" y="39243"/>
                </a:lnTo>
                <a:lnTo>
                  <a:pt x="59435" y="59055"/>
                </a:lnTo>
                <a:cubicBezTo>
                  <a:pt x="58673" y="64135"/>
                  <a:pt x="59054" y="67691"/>
                  <a:pt x="60325" y="69723"/>
                </a:cubicBezTo>
                <a:cubicBezTo>
                  <a:pt x="61976" y="72263"/>
                  <a:pt x="65404" y="74041"/>
                  <a:pt x="70484" y="75057"/>
                </a:cubicBezTo>
                <a:lnTo>
                  <a:pt x="70230" y="77597"/>
                </a:lnTo>
                <a:lnTo>
                  <a:pt x="38734" y="73025"/>
                </a:lnTo>
                <a:lnTo>
                  <a:pt x="39115" y="70611"/>
                </a:lnTo>
                <a:cubicBezTo>
                  <a:pt x="43560" y="70611"/>
                  <a:pt x="46481" y="70358"/>
                  <a:pt x="47878" y="69977"/>
                </a:cubicBezTo>
                <a:cubicBezTo>
                  <a:pt x="49529" y="69342"/>
                  <a:pt x="50927" y="68199"/>
                  <a:pt x="52069" y="66548"/>
                </a:cubicBezTo>
                <a:cubicBezTo>
                  <a:pt x="53213" y="64897"/>
                  <a:pt x="54102" y="62103"/>
                  <a:pt x="54609" y="58293"/>
                </a:cubicBezTo>
                <a:lnTo>
                  <a:pt x="57530" y="38480"/>
                </a:lnTo>
                <a:lnTo>
                  <a:pt x="27813" y="34290"/>
                </a:lnTo>
                <a:cubicBezTo>
                  <a:pt x="23748" y="33655"/>
                  <a:pt x="21335" y="33528"/>
                  <a:pt x="20446" y="33655"/>
                </a:cubicBezTo>
                <a:cubicBezTo>
                  <a:pt x="19430" y="33909"/>
                  <a:pt x="18668" y="34417"/>
                  <a:pt x="18033" y="35305"/>
                </a:cubicBezTo>
                <a:cubicBezTo>
                  <a:pt x="17398" y="36068"/>
                  <a:pt x="16890" y="37719"/>
                  <a:pt x="16509" y="40259"/>
                </a:cubicBezTo>
                <a:lnTo>
                  <a:pt x="14351" y="55499"/>
                </a:lnTo>
                <a:cubicBezTo>
                  <a:pt x="13589" y="60579"/>
                  <a:pt x="13461" y="64389"/>
                  <a:pt x="13842" y="66802"/>
                </a:cubicBezTo>
                <a:cubicBezTo>
                  <a:pt x="14223" y="69215"/>
                  <a:pt x="15239" y="71628"/>
                  <a:pt x="17017" y="74041"/>
                </a:cubicBezTo>
                <a:cubicBezTo>
                  <a:pt x="19430" y="77216"/>
                  <a:pt x="23114" y="80645"/>
                  <a:pt x="28320" y="84328"/>
                </a:cubicBezTo>
                <a:lnTo>
                  <a:pt x="27939" y="86995"/>
                </a:lnTo>
                <a:lnTo>
                  <a:pt x="6350" y="75946"/>
                </a:lnTo>
                <a:lnTo>
                  <a:pt x="16382" y="6350"/>
                </a:lnTo>
                <a:lnTo>
                  <a:pt x="18922" y="6730"/>
                </a:lnTo>
                <a:lnTo>
                  <a:pt x="18414" y="9905"/>
                </a:lnTo>
                <a:cubicBezTo>
                  <a:pt x="18160" y="12065"/>
                  <a:pt x="18288" y="14097"/>
                  <a:pt x="19050" y="16255"/>
                </a:cubicBezTo>
                <a:cubicBezTo>
                  <a:pt x="19557" y="17780"/>
                  <a:pt x="20573" y="18796"/>
                  <a:pt x="21843" y="19558"/>
                </a:cubicBezTo>
                <a:cubicBezTo>
                  <a:pt x="23240" y="20320"/>
                  <a:pt x="26034" y="20955"/>
                  <a:pt x="30479" y="21590"/>
                </a:cubicBezTo>
                <a:lnTo>
                  <a:pt x="89027" y="30099"/>
                </a:lnTo>
                <a:cubicBezTo>
                  <a:pt x="94741" y="30861"/>
                  <a:pt x="98425" y="30861"/>
                  <a:pt x="99948" y="29845"/>
                </a:cubicBezTo>
                <a:cubicBezTo>
                  <a:pt x="101853" y="28448"/>
                  <a:pt x="103123" y="26035"/>
                  <a:pt x="103758" y="22225"/>
                </a:cubicBezTo>
                <a:lnTo>
                  <a:pt x="104139" y="19050"/>
                </a:lnTo>
                <a:lnTo>
                  <a:pt x="106679" y="1943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83" name="Freeform 3"/>
          <p:cNvSpPr/>
          <p:nvPr/>
        </p:nvSpPr>
        <p:spPr>
          <a:xfrm>
            <a:off x="6957561" y="2780202"/>
            <a:ext cx="121602" cy="123973"/>
          </a:xfrm>
          <a:custGeom>
            <a:avLst/>
            <a:gdLst>
              <a:gd name="connsiteX0" fmla="*/ 94742 w 124079"/>
              <a:gd name="connsiteY0" fmla="*/ 6350 h 126491"/>
              <a:gd name="connsiteX1" fmla="*/ 104267 w 124079"/>
              <a:gd name="connsiteY1" fmla="*/ 44450 h 126491"/>
              <a:gd name="connsiteX2" fmla="*/ 101854 w 124079"/>
              <a:gd name="connsiteY2" fmla="*/ 45085 h 126491"/>
              <a:gd name="connsiteX3" fmla="*/ 96646 w 124079"/>
              <a:gd name="connsiteY3" fmla="*/ 35179 h 126491"/>
              <a:gd name="connsiteX4" fmla="*/ 84963 w 124079"/>
              <a:gd name="connsiteY4" fmla="*/ 35686 h 126491"/>
              <a:gd name="connsiteX5" fmla="*/ 34035 w 124079"/>
              <a:gd name="connsiteY5" fmla="*/ 48513 h 126491"/>
              <a:gd name="connsiteX6" fmla="*/ 96773 w 124079"/>
              <a:gd name="connsiteY6" fmla="*/ 76326 h 126491"/>
              <a:gd name="connsiteX7" fmla="*/ 106171 w 124079"/>
              <a:gd name="connsiteY7" fmla="*/ 71247 h 126491"/>
              <a:gd name="connsiteX8" fmla="*/ 105791 w 124079"/>
              <a:gd name="connsiteY8" fmla="*/ 60325 h 126491"/>
              <a:gd name="connsiteX9" fmla="*/ 108204 w 124079"/>
              <a:gd name="connsiteY9" fmla="*/ 59689 h 126491"/>
              <a:gd name="connsiteX10" fmla="*/ 117729 w 124079"/>
              <a:gd name="connsiteY10" fmla="*/ 97917 h 126491"/>
              <a:gd name="connsiteX11" fmla="*/ 115316 w 124079"/>
              <a:gd name="connsiteY11" fmla="*/ 98551 h 126491"/>
              <a:gd name="connsiteX12" fmla="*/ 110108 w 124079"/>
              <a:gd name="connsiteY12" fmla="*/ 88645 h 126491"/>
              <a:gd name="connsiteX13" fmla="*/ 98425 w 124079"/>
              <a:gd name="connsiteY13" fmla="*/ 89154 h 126491"/>
              <a:gd name="connsiteX14" fmla="*/ 42291 w 124079"/>
              <a:gd name="connsiteY14" fmla="*/ 103377 h 126491"/>
              <a:gd name="connsiteX15" fmla="*/ 31750 w 124079"/>
              <a:gd name="connsiteY15" fmla="*/ 108457 h 126491"/>
              <a:gd name="connsiteX16" fmla="*/ 31877 w 124079"/>
              <a:gd name="connsiteY16" fmla="*/ 119633 h 126491"/>
              <a:gd name="connsiteX17" fmla="*/ 29464 w 124079"/>
              <a:gd name="connsiteY17" fmla="*/ 120142 h 126491"/>
              <a:gd name="connsiteX18" fmla="*/ 19811 w 124079"/>
              <a:gd name="connsiteY18" fmla="*/ 81914 h 126491"/>
              <a:gd name="connsiteX19" fmla="*/ 22225 w 124079"/>
              <a:gd name="connsiteY19" fmla="*/ 81279 h 126491"/>
              <a:gd name="connsiteX20" fmla="*/ 27558 w 124079"/>
              <a:gd name="connsiteY20" fmla="*/ 91313 h 126491"/>
              <a:gd name="connsiteX21" fmla="*/ 39116 w 124079"/>
              <a:gd name="connsiteY21" fmla="*/ 90804 h 126491"/>
              <a:gd name="connsiteX22" fmla="*/ 89789 w 124079"/>
              <a:gd name="connsiteY22" fmla="*/ 78104 h 126491"/>
              <a:gd name="connsiteX23" fmla="*/ 27051 w 124079"/>
              <a:gd name="connsiteY23" fmla="*/ 50292 h 126491"/>
              <a:gd name="connsiteX24" fmla="*/ 19557 w 124079"/>
              <a:gd name="connsiteY24" fmla="*/ 52958 h 126491"/>
              <a:gd name="connsiteX25" fmla="*/ 17398 w 124079"/>
              <a:gd name="connsiteY25" fmla="*/ 56895 h 126491"/>
              <a:gd name="connsiteX26" fmla="*/ 18415 w 124079"/>
              <a:gd name="connsiteY26" fmla="*/ 66167 h 126491"/>
              <a:gd name="connsiteX27" fmla="*/ 16002 w 124079"/>
              <a:gd name="connsiteY27" fmla="*/ 66675 h 126491"/>
              <a:gd name="connsiteX28" fmla="*/ 6350 w 124079"/>
              <a:gd name="connsiteY28" fmla="*/ 28575 h 126491"/>
              <a:gd name="connsiteX29" fmla="*/ 8763 w 124079"/>
              <a:gd name="connsiteY29" fmla="*/ 28067 h 126491"/>
              <a:gd name="connsiteX30" fmla="*/ 13969 w 124079"/>
              <a:gd name="connsiteY30" fmla="*/ 37845 h 126491"/>
              <a:gd name="connsiteX31" fmla="*/ 25654 w 124079"/>
              <a:gd name="connsiteY31" fmla="*/ 37338 h 126491"/>
              <a:gd name="connsiteX32" fmla="*/ 81788 w 124079"/>
              <a:gd name="connsiteY32" fmla="*/ 23241 h 126491"/>
              <a:gd name="connsiteX33" fmla="*/ 92329 w 124079"/>
              <a:gd name="connsiteY33" fmla="*/ 18160 h 126491"/>
              <a:gd name="connsiteX34" fmla="*/ 92329 w 124079"/>
              <a:gd name="connsiteY34" fmla="*/ 6985 h 126491"/>
              <a:gd name="connsiteX35" fmla="*/ 94742 w 124079"/>
              <a:gd name="connsiteY35" fmla="*/ 6350 h 12649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</a:cxnLst>
            <a:rect l="l" t="t" r="r" b="b"/>
            <a:pathLst>
              <a:path w="124079" h="126491">
                <a:moveTo>
                  <a:pt x="94742" y="6350"/>
                </a:moveTo>
                <a:lnTo>
                  <a:pt x="104267" y="44450"/>
                </a:lnTo>
                <a:lnTo>
                  <a:pt x="101854" y="45085"/>
                </a:lnTo>
                <a:cubicBezTo>
                  <a:pt x="100330" y="39623"/>
                  <a:pt x="98552" y="36322"/>
                  <a:pt x="96646" y="35179"/>
                </a:cubicBezTo>
                <a:cubicBezTo>
                  <a:pt x="94742" y="34035"/>
                  <a:pt x="90805" y="34289"/>
                  <a:pt x="84963" y="35686"/>
                </a:cubicBezTo>
                <a:lnTo>
                  <a:pt x="34035" y="48513"/>
                </a:lnTo>
                <a:lnTo>
                  <a:pt x="96773" y="76326"/>
                </a:lnTo>
                <a:cubicBezTo>
                  <a:pt x="102107" y="74929"/>
                  <a:pt x="105282" y="73279"/>
                  <a:pt x="106171" y="71247"/>
                </a:cubicBezTo>
                <a:cubicBezTo>
                  <a:pt x="107188" y="69088"/>
                  <a:pt x="107060" y="65532"/>
                  <a:pt x="105791" y="60325"/>
                </a:cubicBezTo>
                <a:lnTo>
                  <a:pt x="108204" y="59689"/>
                </a:lnTo>
                <a:lnTo>
                  <a:pt x="117729" y="97917"/>
                </a:lnTo>
                <a:lnTo>
                  <a:pt x="115316" y="98551"/>
                </a:lnTo>
                <a:cubicBezTo>
                  <a:pt x="113792" y="93091"/>
                  <a:pt x="112014" y="89788"/>
                  <a:pt x="110108" y="88645"/>
                </a:cubicBezTo>
                <a:cubicBezTo>
                  <a:pt x="108204" y="87629"/>
                  <a:pt x="104267" y="87757"/>
                  <a:pt x="98425" y="89154"/>
                </a:cubicBezTo>
                <a:lnTo>
                  <a:pt x="42291" y="103377"/>
                </a:lnTo>
                <a:cubicBezTo>
                  <a:pt x="36448" y="104775"/>
                  <a:pt x="33019" y="106552"/>
                  <a:pt x="31750" y="108457"/>
                </a:cubicBezTo>
                <a:cubicBezTo>
                  <a:pt x="30606" y="110363"/>
                  <a:pt x="30606" y="114045"/>
                  <a:pt x="31877" y="119633"/>
                </a:cubicBezTo>
                <a:lnTo>
                  <a:pt x="29464" y="120142"/>
                </a:lnTo>
                <a:lnTo>
                  <a:pt x="19811" y="81914"/>
                </a:lnTo>
                <a:lnTo>
                  <a:pt x="22225" y="81279"/>
                </a:lnTo>
                <a:cubicBezTo>
                  <a:pt x="23748" y="86867"/>
                  <a:pt x="25527" y="90170"/>
                  <a:pt x="27558" y="91313"/>
                </a:cubicBezTo>
                <a:cubicBezTo>
                  <a:pt x="29464" y="92455"/>
                  <a:pt x="33401" y="92329"/>
                  <a:pt x="39116" y="90804"/>
                </a:cubicBezTo>
                <a:lnTo>
                  <a:pt x="89789" y="78104"/>
                </a:lnTo>
                <a:lnTo>
                  <a:pt x="27051" y="50292"/>
                </a:lnTo>
                <a:cubicBezTo>
                  <a:pt x="23241" y="51307"/>
                  <a:pt x="20701" y="52197"/>
                  <a:pt x="19557" y="52958"/>
                </a:cubicBezTo>
                <a:cubicBezTo>
                  <a:pt x="18415" y="53720"/>
                  <a:pt x="17653" y="55117"/>
                  <a:pt x="17398" y="56895"/>
                </a:cubicBezTo>
                <a:cubicBezTo>
                  <a:pt x="17018" y="58801"/>
                  <a:pt x="17398" y="61848"/>
                  <a:pt x="18415" y="66167"/>
                </a:cubicBezTo>
                <a:lnTo>
                  <a:pt x="16002" y="66675"/>
                </a:lnTo>
                <a:lnTo>
                  <a:pt x="6350" y="28575"/>
                </a:lnTo>
                <a:lnTo>
                  <a:pt x="8763" y="28067"/>
                </a:lnTo>
                <a:cubicBezTo>
                  <a:pt x="10286" y="33401"/>
                  <a:pt x="12065" y="36702"/>
                  <a:pt x="13969" y="37845"/>
                </a:cubicBezTo>
                <a:cubicBezTo>
                  <a:pt x="16002" y="38988"/>
                  <a:pt x="19811" y="38861"/>
                  <a:pt x="25654" y="37338"/>
                </a:cubicBezTo>
                <a:lnTo>
                  <a:pt x="81788" y="23241"/>
                </a:lnTo>
                <a:cubicBezTo>
                  <a:pt x="87630" y="21717"/>
                  <a:pt x="91185" y="20066"/>
                  <a:pt x="92329" y="18160"/>
                </a:cubicBezTo>
                <a:cubicBezTo>
                  <a:pt x="93471" y="16255"/>
                  <a:pt x="93471" y="12445"/>
                  <a:pt x="92329" y="6985"/>
                </a:cubicBezTo>
                <a:lnTo>
                  <a:pt x="94742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84" name="Freeform 3"/>
          <p:cNvSpPr/>
          <p:nvPr/>
        </p:nvSpPr>
        <p:spPr>
          <a:xfrm>
            <a:off x="7001372" y="2978111"/>
            <a:ext cx="119237" cy="140280"/>
          </a:xfrm>
          <a:custGeom>
            <a:avLst/>
            <a:gdLst>
              <a:gd name="connsiteX0" fmla="*/ 96265 w 121666"/>
              <a:gd name="connsiteY0" fmla="*/ 6350 h 143129"/>
              <a:gd name="connsiteX1" fmla="*/ 100456 w 121666"/>
              <a:gd name="connsiteY1" fmla="*/ 31750 h 143129"/>
              <a:gd name="connsiteX2" fmla="*/ 35432 w 121666"/>
              <a:gd name="connsiteY2" fmla="*/ 75946 h 143129"/>
              <a:gd name="connsiteX3" fmla="*/ 111125 w 121666"/>
              <a:gd name="connsiteY3" fmla="*/ 96520 h 143129"/>
              <a:gd name="connsiteX4" fmla="*/ 115315 w 121666"/>
              <a:gd name="connsiteY4" fmla="*/ 121920 h 143129"/>
              <a:gd name="connsiteX5" fmla="*/ 112902 w 121666"/>
              <a:gd name="connsiteY5" fmla="*/ 122301 h 143129"/>
              <a:gd name="connsiteX6" fmla="*/ 112267 w 121666"/>
              <a:gd name="connsiteY6" fmla="*/ 119252 h 143129"/>
              <a:gd name="connsiteX7" fmla="*/ 107568 w 121666"/>
              <a:gd name="connsiteY7" fmla="*/ 111633 h 143129"/>
              <a:gd name="connsiteX8" fmla="*/ 97663 w 121666"/>
              <a:gd name="connsiteY8" fmla="*/ 111760 h 143129"/>
              <a:gd name="connsiteX9" fmla="*/ 38861 w 121666"/>
              <a:gd name="connsiteY9" fmla="*/ 121539 h 143129"/>
              <a:gd name="connsiteX10" fmla="*/ 28828 w 121666"/>
              <a:gd name="connsiteY10" fmla="*/ 125095 h 143129"/>
              <a:gd name="connsiteX11" fmla="*/ 27304 w 121666"/>
              <a:gd name="connsiteY11" fmla="*/ 133223 h 143129"/>
              <a:gd name="connsiteX12" fmla="*/ 27813 w 121666"/>
              <a:gd name="connsiteY12" fmla="*/ 136398 h 143129"/>
              <a:gd name="connsiteX13" fmla="*/ 25400 w 121666"/>
              <a:gd name="connsiteY13" fmla="*/ 136779 h 143129"/>
              <a:gd name="connsiteX14" fmla="*/ 19050 w 121666"/>
              <a:gd name="connsiteY14" fmla="*/ 98552 h 143129"/>
              <a:gd name="connsiteX15" fmla="*/ 21589 w 121666"/>
              <a:gd name="connsiteY15" fmla="*/ 98171 h 143129"/>
              <a:gd name="connsiteX16" fmla="*/ 22097 w 121666"/>
              <a:gd name="connsiteY16" fmla="*/ 101346 h 143129"/>
              <a:gd name="connsiteX17" fmla="*/ 26796 w 121666"/>
              <a:gd name="connsiteY17" fmla="*/ 108839 h 143129"/>
              <a:gd name="connsiteX18" fmla="*/ 36702 w 121666"/>
              <a:gd name="connsiteY18" fmla="*/ 108712 h 143129"/>
              <a:gd name="connsiteX19" fmla="*/ 96901 w 121666"/>
              <a:gd name="connsiteY19" fmla="*/ 98805 h 143129"/>
              <a:gd name="connsiteX20" fmla="*/ 15493 w 121666"/>
              <a:gd name="connsiteY20" fmla="*/ 76580 h 143129"/>
              <a:gd name="connsiteX21" fmla="*/ 15113 w 121666"/>
              <a:gd name="connsiteY21" fmla="*/ 74422 h 143129"/>
              <a:gd name="connsiteX22" fmla="*/ 84963 w 121666"/>
              <a:gd name="connsiteY22" fmla="*/ 27177 h 143129"/>
              <a:gd name="connsiteX23" fmla="*/ 24891 w 121666"/>
              <a:gd name="connsiteY23" fmla="*/ 37083 h 143129"/>
              <a:gd name="connsiteX24" fmla="*/ 14858 w 121666"/>
              <a:gd name="connsiteY24" fmla="*/ 40640 h 143129"/>
              <a:gd name="connsiteX25" fmla="*/ 13334 w 121666"/>
              <a:gd name="connsiteY25" fmla="*/ 48895 h 143129"/>
              <a:gd name="connsiteX26" fmla="*/ 13969 w 121666"/>
              <a:gd name="connsiteY26" fmla="*/ 52070 h 143129"/>
              <a:gd name="connsiteX27" fmla="*/ 11429 w 121666"/>
              <a:gd name="connsiteY27" fmla="*/ 52451 h 143129"/>
              <a:gd name="connsiteX28" fmla="*/ 6350 w 121666"/>
              <a:gd name="connsiteY28" fmla="*/ 21082 h 143129"/>
              <a:gd name="connsiteX29" fmla="*/ 8763 w 121666"/>
              <a:gd name="connsiteY29" fmla="*/ 20701 h 143129"/>
              <a:gd name="connsiteX30" fmla="*/ 9270 w 121666"/>
              <a:gd name="connsiteY30" fmla="*/ 23876 h 143129"/>
              <a:gd name="connsiteX31" fmla="*/ 14096 w 121666"/>
              <a:gd name="connsiteY31" fmla="*/ 31496 h 143129"/>
              <a:gd name="connsiteX32" fmla="*/ 24002 w 121666"/>
              <a:gd name="connsiteY32" fmla="*/ 31242 h 143129"/>
              <a:gd name="connsiteX33" fmla="*/ 82677 w 121666"/>
              <a:gd name="connsiteY33" fmla="*/ 21590 h 143129"/>
              <a:gd name="connsiteX34" fmla="*/ 91185 w 121666"/>
              <a:gd name="connsiteY34" fmla="*/ 18796 h 143129"/>
              <a:gd name="connsiteX35" fmla="*/ 93726 w 121666"/>
              <a:gd name="connsiteY35" fmla="*/ 14858 h 143129"/>
              <a:gd name="connsiteX36" fmla="*/ 93726 w 121666"/>
              <a:gd name="connsiteY36" fmla="*/ 6730 h 143129"/>
              <a:gd name="connsiteX37" fmla="*/ 96265 w 121666"/>
              <a:gd name="connsiteY37" fmla="*/ 6350 h 14312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  <a:cxn ang="36">
                <a:pos x="connsiteX36" y="connsiteY36"/>
              </a:cxn>
              <a:cxn ang="37">
                <a:pos x="connsiteX37" y="connsiteY37"/>
              </a:cxn>
            </a:cxnLst>
            <a:rect l="l" t="t" r="r" b="b"/>
            <a:pathLst>
              <a:path w="121666" h="143129">
                <a:moveTo>
                  <a:pt x="96265" y="6350"/>
                </a:moveTo>
                <a:lnTo>
                  <a:pt x="100456" y="31750"/>
                </a:lnTo>
                <a:lnTo>
                  <a:pt x="35432" y="75946"/>
                </a:lnTo>
                <a:lnTo>
                  <a:pt x="111125" y="96520"/>
                </a:lnTo>
                <a:lnTo>
                  <a:pt x="115315" y="121920"/>
                </a:lnTo>
                <a:lnTo>
                  <a:pt x="112902" y="122301"/>
                </a:lnTo>
                <a:lnTo>
                  <a:pt x="112267" y="119252"/>
                </a:lnTo>
                <a:cubicBezTo>
                  <a:pt x="111759" y="115443"/>
                  <a:pt x="110108" y="112902"/>
                  <a:pt x="107568" y="111633"/>
                </a:cubicBezTo>
                <a:cubicBezTo>
                  <a:pt x="105917" y="110871"/>
                  <a:pt x="102615" y="110998"/>
                  <a:pt x="97663" y="111760"/>
                </a:cubicBezTo>
                <a:lnTo>
                  <a:pt x="38861" y="121539"/>
                </a:lnTo>
                <a:cubicBezTo>
                  <a:pt x="33401" y="122427"/>
                  <a:pt x="29971" y="123571"/>
                  <a:pt x="28828" y="125095"/>
                </a:cubicBezTo>
                <a:cubicBezTo>
                  <a:pt x="27304" y="127000"/>
                  <a:pt x="26796" y="129667"/>
                  <a:pt x="27304" y="133223"/>
                </a:cubicBezTo>
                <a:lnTo>
                  <a:pt x="27813" y="136398"/>
                </a:lnTo>
                <a:lnTo>
                  <a:pt x="25400" y="136779"/>
                </a:lnTo>
                <a:lnTo>
                  <a:pt x="19050" y="98552"/>
                </a:lnTo>
                <a:lnTo>
                  <a:pt x="21589" y="98171"/>
                </a:lnTo>
                <a:lnTo>
                  <a:pt x="22097" y="101346"/>
                </a:lnTo>
                <a:cubicBezTo>
                  <a:pt x="22732" y="105155"/>
                  <a:pt x="24256" y="107696"/>
                  <a:pt x="26796" y="108839"/>
                </a:cubicBezTo>
                <a:cubicBezTo>
                  <a:pt x="28447" y="109601"/>
                  <a:pt x="31750" y="109601"/>
                  <a:pt x="36702" y="108712"/>
                </a:cubicBezTo>
                <a:lnTo>
                  <a:pt x="96901" y="98805"/>
                </a:lnTo>
                <a:lnTo>
                  <a:pt x="15493" y="76580"/>
                </a:lnTo>
                <a:lnTo>
                  <a:pt x="15113" y="74422"/>
                </a:lnTo>
                <a:lnTo>
                  <a:pt x="84963" y="27177"/>
                </a:lnTo>
                <a:lnTo>
                  <a:pt x="24891" y="37083"/>
                </a:lnTo>
                <a:cubicBezTo>
                  <a:pt x="19430" y="38100"/>
                  <a:pt x="16128" y="39243"/>
                  <a:pt x="14858" y="40640"/>
                </a:cubicBezTo>
                <a:cubicBezTo>
                  <a:pt x="13334" y="42545"/>
                  <a:pt x="12827" y="45339"/>
                  <a:pt x="13334" y="48895"/>
                </a:cubicBezTo>
                <a:lnTo>
                  <a:pt x="13969" y="52070"/>
                </a:lnTo>
                <a:lnTo>
                  <a:pt x="11429" y="52451"/>
                </a:lnTo>
                <a:lnTo>
                  <a:pt x="6350" y="21082"/>
                </a:lnTo>
                <a:lnTo>
                  <a:pt x="8763" y="20701"/>
                </a:lnTo>
                <a:lnTo>
                  <a:pt x="9270" y="23876"/>
                </a:lnTo>
                <a:cubicBezTo>
                  <a:pt x="9905" y="27686"/>
                  <a:pt x="11556" y="30226"/>
                  <a:pt x="14096" y="31496"/>
                </a:cubicBezTo>
                <a:cubicBezTo>
                  <a:pt x="15620" y="32130"/>
                  <a:pt x="18922" y="32130"/>
                  <a:pt x="24002" y="31242"/>
                </a:cubicBezTo>
                <a:lnTo>
                  <a:pt x="82677" y="21590"/>
                </a:lnTo>
                <a:cubicBezTo>
                  <a:pt x="86740" y="20955"/>
                  <a:pt x="89534" y="20066"/>
                  <a:pt x="91185" y="18796"/>
                </a:cubicBezTo>
                <a:cubicBezTo>
                  <a:pt x="92328" y="18033"/>
                  <a:pt x="93217" y="16764"/>
                  <a:pt x="93726" y="14858"/>
                </a:cubicBezTo>
                <a:cubicBezTo>
                  <a:pt x="94360" y="13080"/>
                  <a:pt x="94360" y="10414"/>
                  <a:pt x="93726" y="6730"/>
                </a:cubicBezTo>
                <a:lnTo>
                  <a:pt x="96265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85" name="Freeform 3"/>
          <p:cNvSpPr/>
          <p:nvPr/>
        </p:nvSpPr>
        <p:spPr>
          <a:xfrm>
            <a:off x="7028753" y="3121502"/>
            <a:ext cx="95589" cy="69580"/>
          </a:xfrm>
          <a:custGeom>
            <a:avLst/>
            <a:gdLst>
              <a:gd name="connsiteX0" fmla="*/ 91186 w 97536"/>
              <a:gd name="connsiteY0" fmla="*/ 29717 h 70993"/>
              <a:gd name="connsiteX1" fmla="*/ 79756 w 97536"/>
              <a:gd name="connsiteY1" fmla="*/ 11429 h 70993"/>
              <a:gd name="connsiteX2" fmla="*/ 45847 w 97536"/>
              <a:gd name="connsiteY2" fmla="*/ 6350 h 70993"/>
              <a:gd name="connsiteX3" fmla="*/ 12954 w 97536"/>
              <a:gd name="connsiteY3" fmla="*/ 20066 h 70993"/>
              <a:gd name="connsiteX4" fmla="*/ 6350 w 97536"/>
              <a:gd name="connsiteY4" fmla="*/ 40513 h 70993"/>
              <a:gd name="connsiteX5" fmla="*/ 18923 w 97536"/>
              <a:gd name="connsiteY5" fmla="*/ 60198 h 70993"/>
              <a:gd name="connsiteX6" fmla="*/ 51308 w 97536"/>
              <a:gd name="connsiteY6" fmla="*/ 64642 h 70993"/>
              <a:gd name="connsiteX7" fmla="*/ 84709 w 97536"/>
              <a:gd name="connsiteY7" fmla="*/ 51180 h 70993"/>
              <a:gd name="connsiteX8" fmla="*/ 91186 w 97536"/>
              <a:gd name="connsiteY8" fmla="*/ 29717 h 7099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97536" h="70993">
                <a:moveTo>
                  <a:pt x="91186" y="29717"/>
                </a:moveTo>
                <a:cubicBezTo>
                  <a:pt x="90170" y="21589"/>
                  <a:pt x="86360" y="15494"/>
                  <a:pt x="79756" y="11429"/>
                </a:cubicBezTo>
                <a:cubicBezTo>
                  <a:pt x="71501" y="6223"/>
                  <a:pt x="60198" y="4572"/>
                  <a:pt x="45847" y="6350"/>
                </a:cubicBezTo>
                <a:cubicBezTo>
                  <a:pt x="31115" y="8254"/>
                  <a:pt x="20066" y="12826"/>
                  <a:pt x="12954" y="20066"/>
                </a:cubicBezTo>
                <a:cubicBezTo>
                  <a:pt x="7493" y="25780"/>
                  <a:pt x="5334" y="32511"/>
                  <a:pt x="6350" y="40513"/>
                </a:cubicBezTo>
                <a:cubicBezTo>
                  <a:pt x="7366" y="48895"/>
                  <a:pt x="11557" y="55498"/>
                  <a:pt x="18923" y="60198"/>
                </a:cubicBezTo>
                <a:cubicBezTo>
                  <a:pt x="26162" y="64897"/>
                  <a:pt x="36957" y="66421"/>
                  <a:pt x="51308" y="64642"/>
                </a:cubicBezTo>
                <a:cubicBezTo>
                  <a:pt x="66675" y="62611"/>
                  <a:pt x="77851" y="58166"/>
                  <a:pt x="84709" y="51180"/>
                </a:cubicBezTo>
                <a:cubicBezTo>
                  <a:pt x="90170" y="45466"/>
                  <a:pt x="92329" y="38354"/>
                  <a:pt x="91186" y="29717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86" name="Freeform 3"/>
          <p:cNvSpPr/>
          <p:nvPr/>
        </p:nvSpPr>
        <p:spPr>
          <a:xfrm>
            <a:off x="7024025" y="3106567"/>
            <a:ext cx="105296" cy="99204"/>
          </a:xfrm>
          <a:custGeom>
            <a:avLst/>
            <a:gdLst>
              <a:gd name="connsiteX0" fmla="*/ 101091 w 107441"/>
              <a:gd name="connsiteY0" fmla="*/ 45592 h 101219"/>
              <a:gd name="connsiteX1" fmla="*/ 91566 w 107441"/>
              <a:gd name="connsiteY1" fmla="*/ 77851 h 101219"/>
              <a:gd name="connsiteX2" fmla="*/ 59816 w 107441"/>
              <a:gd name="connsiteY2" fmla="*/ 94868 h 101219"/>
              <a:gd name="connsiteX3" fmla="*/ 24002 w 107441"/>
              <a:gd name="connsiteY3" fmla="*/ 86232 h 101219"/>
              <a:gd name="connsiteX4" fmla="*/ 6350 w 107441"/>
              <a:gd name="connsiteY4" fmla="*/ 56388 h 101219"/>
              <a:gd name="connsiteX5" fmla="*/ 15747 w 107441"/>
              <a:gd name="connsiteY5" fmla="*/ 23367 h 101219"/>
              <a:gd name="connsiteX6" fmla="*/ 48513 w 107441"/>
              <a:gd name="connsiteY6" fmla="*/ 6350 h 101219"/>
              <a:gd name="connsiteX7" fmla="*/ 85470 w 107441"/>
              <a:gd name="connsiteY7" fmla="*/ 16636 h 101219"/>
              <a:gd name="connsiteX8" fmla="*/ 101091 w 107441"/>
              <a:gd name="connsiteY8" fmla="*/ 45592 h 10121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107441" h="101219">
                <a:moveTo>
                  <a:pt x="101091" y="45592"/>
                </a:moveTo>
                <a:cubicBezTo>
                  <a:pt x="102615" y="57276"/>
                  <a:pt x="99440" y="68072"/>
                  <a:pt x="91566" y="77851"/>
                </a:cubicBezTo>
                <a:cubicBezTo>
                  <a:pt x="83692" y="87502"/>
                  <a:pt x="73151" y="93218"/>
                  <a:pt x="59816" y="94868"/>
                </a:cubicBezTo>
                <a:cubicBezTo>
                  <a:pt x="46100" y="96647"/>
                  <a:pt x="34163" y="93725"/>
                  <a:pt x="24002" y="86232"/>
                </a:cubicBezTo>
                <a:cubicBezTo>
                  <a:pt x="13842" y="78613"/>
                  <a:pt x="8000" y="68707"/>
                  <a:pt x="6350" y="56388"/>
                </a:cubicBezTo>
                <a:cubicBezTo>
                  <a:pt x="4825" y="43941"/>
                  <a:pt x="8000" y="33019"/>
                  <a:pt x="15747" y="23367"/>
                </a:cubicBezTo>
                <a:cubicBezTo>
                  <a:pt x="23494" y="13842"/>
                  <a:pt x="34416" y="8127"/>
                  <a:pt x="48513" y="6350"/>
                </a:cubicBezTo>
                <a:cubicBezTo>
                  <a:pt x="62864" y="4572"/>
                  <a:pt x="75183" y="8001"/>
                  <a:pt x="85470" y="16636"/>
                </a:cubicBezTo>
                <a:cubicBezTo>
                  <a:pt x="94360" y="24129"/>
                  <a:pt x="99567" y="33782"/>
                  <a:pt x="101091" y="45592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87" name="Freeform 3"/>
          <p:cNvSpPr/>
          <p:nvPr/>
        </p:nvSpPr>
        <p:spPr>
          <a:xfrm>
            <a:off x="7034107" y="3199796"/>
            <a:ext cx="106665" cy="88002"/>
          </a:xfrm>
          <a:custGeom>
            <a:avLst/>
            <a:gdLst>
              <a:gd name="connsiteX0" fmla="*/ 95503 w 108838"/>
              <a:gd name="connsiteY0" fmla="*/ 6350 h 89789"/>
              <a:gd name="connsiteX1" fmla="*/ 102488 w 108838"/>
              <a:gd name="connsiteY1" fmla="*/ 80390 h 89789"/>
              <a:gd name="connsiteX2" fmla="*/ 81279 w 108838"/>
              <a:gd name="connsiteY2" fmla="*/ 83439 h 89789"/>
              <a:gd name="connsiteX3" fmla="*/ 81026 w 108838"/>
              <a:gd name="connsiteY3" fmla="*/ 80898 h 89789"/>
              <a:gd name="connsiteX4" fmla="*/ 88900 w 108838"/>
              <a:gd name="connsiteY4" fmla="*/ 78104 h 89789"/>
              <a:gd name="connsiteX5" fmla="*/ 94106 w 108838"/>
              <a:gd name="connsiteY5" fmla="*/ 72008 h 89789"/>
              <a:gd name="connsiteX6" fmla="*/ 95122 w 108838"/>
              <a:gd name="connsiteY6" fmla="*/ 62864 h 89789"/>
              <a:gd name="connsiteX7" fmla="*/ 93852 w 108838"/>
              <a:gd name="connsiteY7" fmla="*/ 50038 h 89789"/>
              <a:gd name="connsiteX8" fmla="*/ 24510 w 108838"/>
              <a:gd name="connsiteY8" fmla="*/ 56641 h 89789"/>
              <a:gd name="connsiteX9" fmla="*/ 14223 w 108838"/>
              <a:gd name="connsiteY9" fmla="*/ 59435 h 89789"/>
              <a:gd name="connsiteX10" fmla="*/ 12191 w 108838"/>
              <a:gd name="connsiteY10" fmla="*/ 67564 h 89789"/>
              <a:gd name="connsiteX11" fmla="*/ 12445 w 108838"/>
              <a:gd name="connsiteY11" fmla="*/ 70611 h 89789"/>
              <a:gd name="connsiteX12" fmla="*/ 10032 w 108838"/>
              <a:gd name="connsiteY12" fmla="*/ 70865 h 89789"/>
              <a:gd name="connsiteX13" fmla="*/ 6350 w 108838"/>
              <a:gd name="connsiteY13" fmla="*/ 32384 h 89789"/>
              <a:gd name="connsiteX14" fmla="*/ 8889 w 108838"/>
              <a:gd name="connsiteY14" fmla="*/ 32130 h 89789"/>
              <a:gd name="connsiteX15" fmla="*/ 9143 w 108838"/>
              <a:gd name="connsiteY15" fmla="*/ 35432 h 89789"/>
              <a:gd name="connsiteX16" fmla="*/ 13461 w 108838"/>
              <a:gd name="connsiteY16" fmla="*/ 43179 h 89789"/>
              <a:gd name="connsiteX17" fmla="*/ 23367 w 108838"/>
              <a:gd name="connsiteY17" fmla="*/ 43814 h 89789"/>
              <a:gd name="connsiteX18" fmla="*/ 92582 w 108838"/>
              <a:gd name="connsiteY18" fmla="*/ 37210 h 89789"/>
              <a:gd name="connsiteX19" fmla="*/ 91566 w 108838"/>
              <a:gd name="connsiteY19" fmla="*/ 26289 h 89789"/>
              <a:gd name="connsiteX20" fmla="*/ 89788 w 108838"/>
              <a:gd name="connsiteY20" fmla="*/ 17398 h 89789"/>
              <a:gd name="connsiteX21" fmla="*/ 84327 w 108838"/>
              <a:gd name="connsiteY21" fmla="*/ 11810 h 89789"/>
              <a:gd name="connsiteX22" fmla="*/ 74294 w 108838"/>
              <a:gd name="connsiteY22" fmla="*/ 9778 h 89789"/>
              <a:gd name="connsiteX23" fmla="*/ 74040 w 108838"/>
              <a:gd name="connsiteY23" fmla="*/ 7239 h 89789"/>
              <a:gd name="connsiteX24" fmla="*/ 95503 w 108838"/>
              <a:gd name="connsiteY24" fmla="*/ 6350 h 8978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</a:cxnLst>
            <a:rect l="l" t="t" r="r" b="b"/>
            <a:pathLst>
              <a:path w="108838" h="89789">
                <a:moveTo>
                  <a:pt x="95503" y="6350"/>
                </a:moveTo>
                <a:lnTo>
                  <a:pt x="102488" y="80390"/>
                </a:lnTo>
                <a:lnTo>
                  <a:pt x="81279" y="83439"/>
                </a:lnTo>
                <a:lnTo>
                  <a:pt x="81026" y="80898"/>
                </a:lnTo>
                <a:cubicBezTo>
                  <a:pt x="84708" y="80009"/>
                  <a:pt x="87376" y="79120"/>
                  <a:pt x="88900" y="78104"/>
                </a:cubicBezTo>
                <a:cubicBezTo>
                  <a:pt x="91313" y="76453"/>
                  <a:pt x="93090" y="74421"/>
                  <a:pt x="94106" y="72008"/>
                </a:cubicBezTo>
                <a:cubicBezTo>
                  <a:pt x="95122" y="69595"/>
                  <a:pt x="95376" y="66547"/>
                  <a:pt x="95122" y="62864"/>
                </a:cubicBezTo>
                <a:lnTo>
                  <a:pt x="93852" y="50038"/>
                </a:lnTo>
                <a:lnTo>
                  <a:pt x="24510" y="56641"/>
                </a:lnTo>
                <a:cubicBezTo>
                  <a:pt x="18922" y="57150"/>
                  <a:pt x="15493" y="58039"/>
                  <a:pt x="14223" y="59435"/>
                </a:cubicBezTo>
                <a:cubicBezTo>
                  <a:pt x="12572" y="61340"/>
                  <a:pt x="11810" y="64007"/>
                  <a:pt x="12191" y="67564"/>
                </a:cubicBezTo>
                <a:lnTo>
                  <a:pt x="12445" y="70611"/>
                </a:lnTo>
                <a:lnTo>
                  <a:pt x="10032" y="70865"/>
                </a:lnTo>
                <a:lnTo>
                  <a:pt x="6350" y="32384"/>
                </a:lnTo>
                <a:lnTo>
                  <a:pt x="8889" y="32130"/>
                </a:lnTo>
                <a:lnTo>
                  <a:pt x="9143" y="35432"/>
                </a:lnTo>
                <a:cubicBezTo>
                  <a:pt x="9525" y="39242"/>
                  <a:pt x="10921" y="41782"/>
                  <a:pt x="13461" y="43179"/>
                </a:cubicBezTo>
                <a:cubicBezTo>
                  <a:pt x="14985" y="44069"/>
                  <a:pt x="18288" y="44195"/>
                  <a:pt x="23367" y="43814"/>
                </a:cubicBezTo>
                <a:lnTo>
                  <a:pt x="92582" y="37210"/>
                </a:lnTo>
                <a:lnTo>
                  <a:pt x="91566" y="26289"/>
                </a:lnTo>
                <a:cubicBezTo>
                  <a:pt x="91185" y="22097"/>
                  <a:pt x="90551" y="19050"/>
                  <a:pt x="89788" y="17398"/>
                </a:cubicBezTo>
                <a:cubicBezTo>
                  <a:pt x="88772" y="15113"/>
                  <a:pt x="86867" y="13334"/>
                  <a:pt x="84327" y="11810"/>
                </a:cubicBezTo>
                <a:cubicBezTo>
                  <a:pt x="81788" y="10414"/>
                  <a:pt x="78485" y="9778"/>
                  <a:pt x="74294" y="9778"/>
                </a:cubicBezTo>
                <a:lnTo>
                  <a:pt x="74040" y="7239"/>
                </a:lnTo>
                <a:lnTo>
                  <a:pt x="95503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88" name="Freeform 3"/>
          <p:cNvSpPr/>
          <p:nvPr/>
        </p:nvSpPr>
        <p:spPr>
          <a:xfrm>
            <a:off x="7040081" y="3281449"/>
            <a:ext cx="107537" cy="110531"/>
          </a:xfrm>
          <a:custGeom>
            <a:avLst/>
            <a:gdLst>
              <a:gd name="connsiteX0" fmla="*/ 97281 w 109728"/>
              <a:gd name="connsiteY0" fmla="*/ 6350 h 112776"/>
              <a:gd name="connsiteX1" fmla="*/ 99821 w 109728"/>
              <a:gd name="connsiteY1" fmla="*/ 45592 h 112776"/>
              <a:gd name="connsiteX2" fmla="*/ 97281 w 109728"/>
              <a:gd name="connsiteY2" fmla="*/ 45720 h 112776"/>
              <a:gd name="connsiteX3" fmla="*/ 93980 w 109728"/>
              <a:gd name="connsiteY3" fmla="*/ 35052 h 112776"/>
              <a:gd name="connsiteX4" fmla="*/ 82422 w 109728"/>
              <a:gd name="connsiteY4" fmla="*/ 33401 h 112776"/>
              <a:gd name="connsiteX5" fmla="*/ 29971 w 109728"/>
              <a:gd name="connsiteY5" fmla="*/ 36829 h 112776"/>
              <a:gd name="connsiteX6" fmla="*/ 86614 w 109728"/>
              <a:gd name="connsiteY6" fmla="*/ 75438 h 112776"/>
              <a:gd name="connsiteX7" fmla="*/ 96773 w 109728"/>
              <a:gd name="connsiteY7" fmla="*/ 72135 h 112776"/>
              <a:gd name="connsiteX8" fmla="*/ 98297 w 109728"/>
              <a:gd name="connsiteY8" fmla="*/ 61340 h 112776"/>
              <a:gd name="connsiteX9" fmla="*/ 100838 w 109728"/>
              <a:gd name="connsiteY9" fmla="*/ 61214 h 112776"/>
              <a:gd name="connsiteX10" fmla="*/ 103378 w 109728"/>
              <a:gd name="connsiteY10" fmla="*/ 100583 h 112776"/>
              <a:gd name="connsiteX11" fmla="*/ 100838 w 109728"/>
              <a:gd name="connsiteY11" fmla="*/ 100710 h 112776"/>
              <a:gd name="connsiteX12" fmla="*/ 97535 w 109728"/>
              <a:gd name="connsiteY12" fmla="*/ 90042 h 112776"/>
              <a:gd name="connsiteX13" fmla="*/ 85979 w 109728"/>
              <a:gd name="connsiteY13" fmla="*/ 88519 h 112776"/>
              <a:gd name="connsiteX14" fmla="*/ 28067 w 109728"/>
              <a:gd name="connsiteY14" fmla="*/ 92202 h 112776"/>
              <a:gd name="connsiteX15" fmla="*/ 16891 w 109728"/>
              <a:gd name="connsiteY15" fmla="*/ 95250 h 112776"/>
              <a:gd name="connsiteX16" fmla="*/ 14858 w 109728"/>
              <a:gd name="connsiteY16" fmla="*/ 106298 h 112776"/>
              <a:gd name="connsiteX17" fmla="*/ 12445 w 109728"/>
              <a:gd name="connsiteY17" fmla="*/ 106426 h 112776"/>
              <a:gd name="connsiteX18" fmla="*/ 9905 w 109728"/>
              <a:gd name="connsiteY18" fmla="*/ 67055 h 112776"/>
              <a:gd name="connsiteX19" fmla="*/ 12318 w 109728"/>
              <a:gd name="connsiteY19" fmla="*/ 66928 h 112776"/>
              <a:gd name="connsiteX20" fmla="*/ 15747 w 109728"/>
              <a:gd name="connsiteY20" fmla="*/ 77723 h 112776"/>
              <a:gd name="connsiteX21" fmla="*/ 27305 w 109728"/>
              <a:gd name="connsiteY21" fmla="*/ 79247 h 112776"/>
              <a:gd name="connsiteX22" fmla="*/ 79502 w 109728"/>
              <a:gd name="connsiteY22" fmla="*/ 75945 h 112776"/>
              <a:gd name="connsiteX23" fmla="*/ 22732 w 109728"/>
              <a:gd name="connsiteY23" fmla="*/ 37210 h 112776"/>
              <a:gd name="connsiteX24" fmla="*/ 14985 w 109728"/>
              <a:gd name="connsiteY24" fmla="*/ 38480 h 112776"/>
              <a:gd name="connsiteX25" fmla="*/ 12065 w 109728"/>
              <a:gd name="connsiteY25" fmla="*/ 42036 h 112776"/>
              <a:gd name="connsiteX26" fmla="*/ 11303 w 109728"/>
              <a:gd name="connsiteY26" fmla="*/ 51180 h 112776"/>
              <a:gd name="connsiteX27" fmla="*/ 8890 w 109728"/>
              <a:gd name="connsiteY27" fmla="*/ 51434 h 112776"/>
              <a:gd name="connsiteX28" fmla="*/ 6350 w 109728"/>
              <a:gd name="connsiteY28" fmla="*/ 12191 h 112776"/>
              <a:gd name="connsiteX29" fmla="*/ 8763 w 109728"/>
              <a:gd name="connsiteY29" fmla="*/ 12064 h 112776"/>
              <a:gd name="connsiteX30" fmla="*/ 12192 w 109728"/>
              <a:gd name="connsiteY30" fmla="*/ 22605 h 112776"/>
              <a:gd name="connsiteX31" fmla="*/ 23748 w 109728"/>
              <a:gd name="connsiteY31" fmla="*/ 24257 h 112776"/>
              <a:gd name="connsiteX32" fmla="*/ 81533 w 109728"/>
              <a:gd name="connsiteY32" fmla="*/ 20573 h 112776"/>
              <a:gd name="connsiteX33" fmla="*/ 92836 w 109728"/>
              <a:gd name="connsiteY33" fmla="*/ 17398 h 112776"/>
              <a:gd name="connsiteX34" fmla="*/ 94742 w 109728"/>
              <a:gd name="connsiteY34" fmla="*/ 6477 h 112776"/>
              <a:gd name="connsiteX35" fmla="*/ 97281 w 109728"/>
              <a:gd name="connsiteY35" fmla="*/ 6350 h 11277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</a:cxnLst>
            <a:rect l="l" t="t" r="r" b="b"/>
            <a:pathLst>
              <a:path w="109728" h="112776">
                <a:moveTo>
                  <a:pt x="97281" y="6350"/>
                </a:moveTo>
                <a:lnTo>
                  <a:pt x="99821" y="45592"/>
                </a:lnTo>
                <a:lnTo>
                  <a:pt x="97281" y="45720"/>
                </a:lnTo>
                <a:cubicBezTo>
                  <a:pt x="96773" y="40004"/>
                  <a:pt x="95630" y="36448"/>
                  <a:pt x="93980" y="35052"/>
                </a:cubicBezTo>
                <a:cubicBezTo>
                  <a:pt x="92202" y="33527"/>
                  <a:pt x="88392" y="33020"/>
                  <a:pt x="82422" y="33401"/>
                </a:cubicBezTo>
                <a:lnTo>
                  <a:pt x="29971" y="36829"/>
                </a:lnTo>
                <a:lnTo>
                  <a:pt x="86614" y="75438"/>
                </a:lnTo>
                <a:cubicBezTo>
                  <a:pt x="92075" y="75183"/>
                  <a:pt x="95504" y="74040"/>
                  <a:pt x="96773" y="72135"/>
                </a:cubicBezTo>
                <a:cubicBezTo>
                  <a:pt x="98170" y="70358"/>
                  <a:pt x="98679" y="66675"/>
                  <a:pt x="98297" y="61340"/>
                </a:cubicBezTo>
                <a:lnTo>
                  <a:pt x="100838" y="61214"/>
                </a:lnTo>
                <a:lnTo>
                  <a:pt x="103378" y="100583"/>
                </a:lnTo>
                <a:lnTo>
                  <a:pt x="100838" y="100710"/>
                </a:lnTo>
                <a:cubicBezTo>
                  <a:pt x="100330" y="95122"/>
                  <a:pt x="99186" y="91566"/>
                  <a:pt x="97535" y="90042"/>
                </a:cubicBezTo>
                <a:cubicBezTo>
                  <a:pt x="95757" y="88645"/>
                  <a:pt x="91947" y="88010"/>
                  <a:pt x="85979" y="88519"/>
                </a:cubicBezTo>
                <a:lnTo>
                  <a:pt x="28067" y="92202"/>
                </a:lnTo>
                <a:cubicBezTo>
                  <a:pt x="22097" y="92583"/>
                  <a:pt x="18415" y="93598"/>
                  <a:pt x="16891" y="95250"/>
                </a:cubicBezTo>
                <a:cubicBezTo>
                  <a:pt x="15367" y="96901"/>
                  <a:pt x="14731" y="100583"/>
                  <a:pt x="14858" y="106298"/>
                </a:cubicBezTo>
                <a:lnTo>
                  <a:pt x="12445" y="106426"/>
                </a:lnTo>
                <a:lnTo>
                  <a:pt x="9905" y="67055"/>
                </a:lnTo>
                <a:lnTo>
                  <a:pt x="12318" y="66928"/>
                </a:lnTo>
                <a:cubicBezTo>
                  <a:pt x="12954" y="72644"/>
                  <a:pt x="14096" y="76200"/>
                  <a:pt x="15747" y="77723"/>
                </a:cubicBezTo>
                <a:cubicBezTo>
                  <a:pt x="17526" y="79120"/>
                  <a:pt x="21335" y="79628"/>
                  <a:pt x="27305" y="79247"/>
                </a:cubicBezTo>
                <a:lnTo>
                  <a:pt x="79502" y="75945"/>
                </a:lnTo>
                <a:lnTo>
                  <a:pt x="22732" y="37210"/>
                </a:lnTo>
                <a:cubicBezTo>
                  <a:pt x="18795" y="37591"/>
                  <a:pt x="16255" y="37972"/>
                  <a:pt x="14985" y="38480"/>
                </a:cubicBezTo>
                <a:cubicBezTo>
                  <a:pt x="13589" y="39115"/>
                  <a:pt x="12700" y="40258"/>
                  <a:pt x="12065" y="42036"/>
                </a:cubicBezTo>
                <a:cubicBezTo>
                  <a:pt x="11430" y="43814"/>
                  <a:pt x="11176" y="46863"/>
                  <a:pt x="11303" y="51180"/>
                </a:cubicBezTo>
                <a:lnTo>
                  <a:pt x="8890" y="51434"/>
                </a:lnTo>
                <a:lnTo>
                  <a:pt x="6350" y="12191"/>
                </a:lnTo>
                <a:lnTo>
                  <a:pt x="8763" y="12064"/>
                </a:lnTo>
                <a:cubicBezTo>
                  <a:pt x="9397" y="17652"/>
                  <a:pt x="10414" y="21208"/>
                  <a:pt x="12192" y="22605"/>
                </a:cubicBezTo>
                <a:cubicBezTo>
                  <a:pt x="13842" y="24129"/>
                  <a:pt x="17780" y="24638"/>
                  <a:pt x="23748" y="24257"/>
                </a:cubicBezTo>
                <a:lnTo>
                  <a:pt x="81533" y="20573"/>
                </a:lnTo>
                <a:cubicBezTo>
                  <a:pt x="87503" y="20192"/>
                  <a:pt x="91313" y="19050"/>
                  <a:pt x="92836" y="17398"/>
                </a:cubicBezTo>
                <a:cubicBezTo>
                  <a:pt x="94360" y="15747"/>
                  <a:pt x="94995" y="12064"/>
                  <a:pt x="94742" y="6477"/>
                </a:cubicBezTo>
                <a:lnTo>
                  <a:pt x="97281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89" name="Freeform 3"/>
          <p:cNvSpPr/>
          <p:nvPr/>
        </p:nvSpPr>
        <p:spPr>
          <a:xfrm>
            <a:off x="7052153" y="3407165"/>
            <a:ext cx="51279" cy="52651"/>
          </a:xfrm>
          <a:custGeom>
            <a:avLst/>
            <a:gdLst>
              <a:gd name="connsiteX0" fmla="*/ 45973 w 52324"/>
              <a:gd name="connsiteY0" fmla="*/ 18288 h 53720"/>
              <a:gd name="connsiteX1" fmla="*/ 45593 w 52324"/>
              <a:gd name="connsiteY1" fmla="*/ 11175 h 53720"/>
              <a:gd name="connsiteX2" fmla="*/ 44958 w 52324"/>
              <a:gd name="connsiteY2" fmla="*/ 6350 h 53720"/>
              <a:gd name="connsiteX3" fmla="*/ 7620 w 52324"/>
              <a:gd name="connsiteY3" fmla="*/ 7619 h 53720"/>
              <a:gd name="connsiteX4" fmla="*/ 6350 w 52324"/>
              <a:gd name="connsiteY4" fmla="*/ 23113 h 53720"/>
              <a:gd name="connsiteX5" fmla="*/ 12446 w 52324"/>
              <a:gd name="connsiteY5" fmla="*/ 41401 h 53720"/>
              <a:gd name="connsiteX6" fmla="*/ 26161 w 52324"/>
              <a:gd name="connsiteY6" fmla="*/ 47370 h 53720"/>
              <a:gd name="connsiteX7" fmla="*/ 36322 w 52324"/>
              <a:gd name="connsiteY7" fmla="*/ 44195 h 53720"/>
              <a:gd name="connsiteX8" fmla="*/ 43688 w 52324"/>
              <a:gd name="connsiteY8" fmla="*/ 34416 h 53720"/>
              <a:gd name="connsiteX9" fmla="*/ 45973 w 52324"/>
              <a:gd name="connsiteY9" fmla="*/ 18288 h 5372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</a:cxnLst>
            <a:rect l="l" t="t" r="r" b="b"/>
            <a:pathLst>
              <a:path w="52324" h="53720">
                <a:moveTo>
                  <a:pt x="45973" y="18288"/>
                </a:moveTo>
                <a:cubicBezTo>
                  <a:pt x="45847" y="15494"/>
                  <a:pt x="45720" y="13080"/>
                  <a:pt x="45593" y="11175"/>
                </a:cubicBezTo>
                <a:cubicBezTo>
                  <a:pt x="45466" y="9144"/>
                  <a:pt x="45211" y="7619"/>
                  <a:pt x="44958" y="6350"/>
                </a:cubicBezTo>
                <a:lnTo>
                  <a:pt x="7620" y="7619"/>
                </a:lnTo>
                <a:cubicBezTo>
                  <a:pt x="6604" y="12953"/>
                  <a:pt x="6223" y="18033"/>
                  <a:pt x="6350" y="23113"/>
                </a:cubicBezTo>
                <a:cubicBezTo>
                  <a:pt x="6604" y="31241"/>
                  <a:pt x="8636" y="37338"/>
                  <a:pt x="12446" y="41401"/>
                </a:cubicBezTo>
                <a:cubicBezTo>
                  <a:pt x="16256" y="45592"/>
                  <a:pt x="20828" y="47625"/>
                  <a:pt x="26161" y="47370"/>
                </a:cubicBezTo>
                <a:cubicBezTo>
                  <a:pt x="29718" y="47244"/>
                  <a:pt x="33147" y="46227"/>
                  <a:pt x="36322" y="44195"/>
                </a:cubicBezTo>
                <a:cubicBezTo>
                  <a:pt x="39497" y="42163"/>
                  <a:pt x="42036" y="38861"/>
                  <a:pt x="43688" y="34416"/>
                </a:cubicBezTo>
                <a:cubicBezTo>
                  <a:pt x="45466" y="30098"/>
                  <a:pt x="46228" y="24638"/>
                  <a:pt x="45973" y="18288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90" name="Freeform 3"/>
          <p:cNvSpPr/>
          <p:nvPr/>
        </p:nvSpPr>
        <p:spPr>
          <a:xfrm>
            <a:off x="7095592" y="3405796"/>
            <a:ext cx="49039" cy="49913"/>
          </a:xfrm>
          <a:custGeom>
            <a:avLst/>
            <a:gdLst>
              <a:gd name="connsiteX0" fmla="*/ 43688 w 50038"/>
              <a:gd name="connsiteY0" fmla="*/ 18415 h 50927"/>
              <a:gd name="connsiteX1" fmla="*/ 41782 w 50038"/>
              <a:gd name="connsiteY1" fmla="*/ 6350 h 50927"/>
              <a:gd name="connsiteX2" fmla="*/ 6857 w 50038"/>
              <a:gd name="connsiteY2" fmla="*/ 7620 h 50927"/>
              <a:gd name="connsiteX3" fmla="*/ 6350 w 50038"/>
              <a:gd name="connsiteY3" fmla="*/ 13335 h 50927"/>
              <a:gd name="connsiteX4" fmla="*/ 6350 w 50038"/>
              <a:gd name="connsiteY4" fmla="*/ 20320 h 50927"/>
              <a:gd name="connsiteX5" fmla="*/ 9016 w 50038"/>
              <a:gd name="connsiteY5" fmla="*/ 34925 h 50927"/>
              <a:gd name="connsiteX6" fmla="*/ 15747 w 50038"/>
              <a:gd name="connsiteY6" fmla="*/ 42291 h 50927"/>
              <a:gd name="connsiteX7" fmla="*/ 25272 w 50038"/>
              <a:gd name="connsiteY7" fmla="*/ 44577 h 50927"/>
              <a:gd name="connsiteX8" fmla="*/ 38734 w 50038"/>
              <a:gd name="connsiteY8" fmla="*/ 37591 h 50927"/>
              <a:gd name="connsiteX9" fmla="*/ 43688 w 50038"/>
              <a:gd name="connsiteY9" fmla="*/ 18415 h 5092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</a:cxnLst>
            <a:rect l="l" t="t" r="r" b="b"/>
            <a:pathLst>
              <a:path w="50038" h="50927">
                <a:moveTo>
                  <a:pt x="43688" y="18415"/>
                </a:moveTo>
                <a:cubicBezTo>
                  <a:pt x="43560" y="13970"/>
                  <a:pt x="42925" y="9905"/>
                  <a:pt x="41782" y="6350"/>
                </a:cubicBezTo>
                <a:lnTo>
                  <a:pt x="6857" y="7620"/>
                </a:lnTo>
                <a:cubicBezTo>
                  <a:pt x="6603" y="9271"/>
                  <a:pt x="6476" y="11176"/>
                  <a:pt x="6350" y="13335"/>
                </a:cubicBezTo>
                <a:cubicBezTo>
                  <a:pt x="6222" y="15366"/>
                  <a:pt x="6222" y="17779"/>
                  <a:pt x="6350" y="20320"/>
                </a:cubicBezTo>
                <a:cubicBezTo>
                  <a:pt x="6603" y="26797"/>
                  <a:pt x="7492" y="31750"/>
                  <a:pt x="9016" y="34925"/>
                </a:cubicBezTo>
                <a:cubicBezTo>
                  <a:pt x="10540" y="38227"/>
                  <a:pt x="12700" y="40640"/>
                  <a:pt x="15747" y="42291"/>
                </a:cubicBezTo>
                <a:cubicBezTo>
                  <a:pt x="18668" y="43941"/>
                  <a:pt x="21843" y="44704"/>
                  <a:pt x="25272" y="44577"/>
                </a:cubicBezTo>
                <a:cubicBezTo>
                  <a:pt x="30606" y="44450"/>
                  <a:pt x="35178" y="42036"/>
                  <a:pt x="38734" y="37591"/>
                </a:cubicBezTo>
                <a:cubicBezTo>
                  <a:pt x="42290" y="33147"/>
                  <a:pt x="44068" y="26797"/>
                  <a:pt x="43688" y="18415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91" name="Freeform 3"/>
          <p:cNvSpPr/>
          <p:nvPr/>
        </p:nvSpPr>
        <p:spPr>
          <a:xfrm>
            <a:off x="7046054" y="3380030"/>
            <a:ext cx="103057" cy="94972"/>
          </a:xfrm>
          <a:custGeom>
            <a:avLst/>
            <a:gdLst>
              <a:gd name="connsiteX0" fmla="*/ 97409 w 105156"/>
              <a:gd name="connsiteY0" fmla="*/ 6350 h 96901"/>
              <a:gd name="connsiteX1" fmla="*/ 98806 w 105156"/>
              <a:gd name="connsiteY1" fmla="*/ 45720 h 96901"/>
              <a:gd name="connsiteX2" fmla="*/ 97790 w 105156"/>
              <a:gd name="connsiteY2" fmla="*/ 63500 h 96901"/>
              <a:gd name="connsiteX3" fmla="*/ 89789 w 105156"/>
              <a:gd name="connsiteY3" fmla="*/ 79121 h 96901"/>
              <a:gd name="connsiteX4" fmla="*/ 75819 w 105156"/>
              <a:gd name="connsiteY4" fmla="*/ 84963 h 96901"/>
              <a:gd name="connsiteX5" fmla="*/ 63372 w 105156"/>
              <a:gd name="connsiteY5" fmla="*/ 81153 h 96901"/>
              <a:gd name="connsiteX6" fmla="*/ 54991 w 105156"/>
              <a:gd name="connsiteY6" fmla="*/ 69215 h 96901"/>
              <a:gd name="connsiteX7" fmla="*/ 49021 w 105156"/>
              <a:gd name="connsiteY7" fmla="*/ 83566 h 96901"/>
              <a:gd name="connsiteX8" fmla="*/ 34163 w 105156"/>
              <a:gd name="connsiteY8" fmla="*/ 90551 h 96901"/>
              <a:gd name="connsiteX9" fmla="*/ 20955 w 105156"/>
              <a:gd name="connsiteY9" fmla="*/ 86741 h 96901"/>
              <a:gd name="connsiteX10" fmla="*/ 11557 w 105156"/>
              <a:gd name="connsiteY10" fmla="*/ 75311 h 96901"/>
              <a:gd name="connsiteX11" fmla="*/ 7873 w 105156"/>
              <a:gd name="connsiteY11" fmla="*/ 52451 h 96901"/>
              <a:gd name="connsiteX12" fmla="*/ 6350 w 105156"/>
              <a:gd name="connsiteY12" fmla="*/ 9525 h 96901"/>
              <a:gd name="connsiteX13" fmla="*/ 8890 w 105156"/>
              <a:gd name="connsiteY13" fmla="*/ 9398 h 96901"/>
              <a:gd name="connsiteX14" fmla="*/ 9017 w 105156"/>
              <a:gd name="connsiteY14" fmla="*/ 12827 h 96901"/>
              <a:gd name="connsiteX15" fmla="*/ 12954 w 105156"/>
              <a:gd name="connsiteY15" fmla="*/ 20955 h 96901"/>
              <a:gd name="connsiteX16" fmla="*/ 22986 w 105156"/>
              <a:gd name="connsiteY16" fmla="*/ 22098 h 96901"/>
              <a:gd name="connsiteX17" fmla="*/ 81788 w 105156"/>
              <a:gd name="connsiteY17" fmla="*/ 20066 h 96901"/>
              <a:gd name="connsiteX18" fmla="*/ 92456 w 105156"/>
              <a:gd name="connsiteY18" fmla="*/ 17780 h 96901"/>
              <a:gd name="connsiteX19" fmla="*/ 95122 w 105156"/>
              <a:gd name="connsiteY19" fmla="*/ 9905 h 96901"/>
              <a:gd name="connsiteX20" fmla="*/ 94996 w 105156"/>
              <a:gd name="connsiteY20" fmla="*/ 6477 h 96901"/>
              <a:gd name="connsiteX21" fmla="*/ 97409 w 105156"/>
              <a:gd name="connsiteY21" fmla="*/ 6350 h 9690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</a:cxnLst>
            <a:rect l="l" t="t" r="r" b="b"/>
            <a:pathLst>
              <a:path w="105156" h="96901">
                <a:moveTo>
                  <a:pt x="97409" y="6350"/>
                </a:moveTo>
                <a:lnTo>
                  <a:pt x="98806" y="45720"/>
                </a:lnTo>
                <a:cubicBezTo>
                  <a:pt x="99059" y="53086"/>
                  <a:pt x="98679" y="59055"/>
                  <a:pt x="97790" y="63500"/>
                </a:cubicBezTo>
                <a:cubicBezTo>
                  <a:pt x="96393" y="70230"/>
                  <a:pt x="93726" y="75438"/>
                  <a:pt x="89789" y="79121"/>
                </a:cubicBezTo>
                <a:cubicBezTo>
                  <a:pt x="85852" y="82804"/>
                  <a:pt x="81153" y="84709"/>
                  <a:pt x="75819" y="84963"/>
                </a:cubicBezTo>
                <a:cubicBezTo>
                  <a:pt x="71246" y="85090"/>
                  <a:pt x="67056" y="83820"/>
                  <a:pt x="63372" y="81153"/>
                </a:cubicBezTo>
                <a:cubicBezTo>
                  <a:pt x="59690" y="78486"/>
                  <a:pt x="56896" y="74549"/>
                  <a:pt x="54991" y="69215"/>
                </a:cubicBezTo>
                <a:cubicBezTo>
                  <a:pt x="53847" y="75565"/>
                  <a:pt x="51816" y="80391"/>
                  <a:pt x="49021" y="83566"/>
                </a:cubicBezTo>
                <a:cubicBezTo>
                  <a:pt x="45084" y="88011"/>
                  <a:pt x="40132" y="90424"/>
                  <a:pt x="34163" y="90551"/>
                </a:cubicBezTo>
                <a:cubicBezTo>
                  <a:pt x="29591" y="90805"/>
                  <a:pt x="25272" y="89535"/>
                  <a:pt x="20955" y="86741"/>
                </a:cubicBezTo>
                <a:cubicBezTo>
                  <a:pt x="16764" y="84074"/>
                  <a:pt x="13589" y="80264"/>
                  <a:pt x="11557" y="75311"/>
                </a:cubicBezTo>
                <a:cubicBezTo>
                  <a:pt x="9397" y="70358"/>
                  <a:pt x="8255" y="62738"/>
                  <a:pt x="7873" y="52451"/>
                </a:cubicBezTo>
                <a:lnTo>
                  <a:pt x="6350" y="9525"/>
                </a:lnTo>
                <a:lnTo>
                  <a:pt x="8890" y="9398"/>
                </a:lnTo>
                <a:lnTo>
                  <a:pt x="9017" y="12827"/>
                </a:lnTo>
                <a:cubicBezTo>
                  <a:pt x="9144" y="16636"/>
                  <a:pt x="10414" y="19304"/>
                  <a:pt x="12954" y="20955"/>
                </a:cubicBezTo>
                <a:cubicBezTo>
                  <a:pt x="14478" y="21971"/>
                  <a:pt x="17907" y="22352"/>
                  <a:pt x="22986" y="22098"/>
                </a:cubicBezTo>
                <a:lnTo>
                  <a:pt x="81788" y="20066"/>
                </a:lnTo>
                <a:cubicBezTo>
                  <a:pt x="87376" y="19939"/>
                  <a:pt x="90932" y="19177"/>
                  <a:pt x="92456" y="17780"/>
                </a:cubicBezTo>
                <a:cubicBezTo>
                  <a:pt x="94360" y="16002"/>
                  <a:pt x="95250" y="13335"/>
                  <a:pt x="95122" y="9905"/>
                </a:cubicBezTo>
                <a:lnTo>
                  <a:pt x="94996" y="6477"/>
                </a:lnTo>
                <a:lnTo>
                  <a:pt x="97409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92" name="Freeform 3"/>
          <p:cNvSpPr/>
          <p:nvPr/>
        </p:nvSpPr>
        <p:spPr>
          <a:xfrm>
            <a:off x="7083768" y="3490934"/>
            <a:ext cx="48666" cy="43192"/>
          </a:xfrm>
          <a:custGeom>
            <a:avLst/>
            <a:gdLst>
              <a:gd name="connsiteX0" fmla="*/ 43306 w 49657"/>
              <a:gd name="connsiteY0" fmla="*/ 22098 h 44069"/>
              <a:gd name="connsiteX1" fmla="*/ 6350 w 49657"/>
              <a:gd name="connsiteY1" fmla="*/ 6350 h 44069"/>
              <a:gd name="connsiteX2" fmla="*/ 6477 w 49657"/>
              <a:gd name="connsiteY2" fmla="*/ 37719 h 44069"/>
              <a:gd name="connsiteX3" fmla="*/ 43306 w 49657"/>
              <a:gd name="connsiteY3" fmla="*/ 22098 h 4406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</a:cxnLst>
            <a:rect l="l" t="t" r="r" b="b"/>
            <a:pathLst>
              <a:path w="49657" h="44069">
                <a:moveTo>
                  <a:pt x="43306" y="22098"/>
                </a:moveTo>
                <a:lnTo>
                  <a:pt x="6350" y="6350"/>
                </a:lnTo>
                <a:lnTo>
                  <a:pt x="6477" y="37719"/>
                </a:lnTo>
                <a:lnTo>
                  <a:pt x="43306" y="22098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93" name="Freeform 3"/>
          <p:cNvSpPr/>
          <p:nvPr/>
        </p:nvSpPr>
        <p:spPr>
          <a:xfrm>
            <a:off x="7048918" y="3462928"/>
            <a:ext cx="104051" cy="107294"/>
          </a:xfrm>
          <a:custGeom>
            <a:avLst/>
            <a:gdLst>
              <a:gd name="connsiteX0" fmla="*/ 99821 w 106171"/>
              <a:gd name="connsiteY0" fmla="*/ 53086 h 109473"/>
              <a:gd name="connsiteX1" fmla="*/ 99821 w 106171"/>
              <a:gd name="connsiteY1" fmla="*/ 55498 h 109473"/>
              <a:gd name="connsiteX2" fmla="*/ 24129 w 106171"/>
              <a:gd name="connsiteY2" fmla="*/ 87503 h 109473"/>
              <a:gd name="connsiteX3" fmla="*/ 12191 w 106171"/>
              <a:gd name="connsiteY3" fmla="*/ 94488 h 109473"/>
              <a:gd name="connsiteX4" fmla="*/ 9143 w 106171"/>
              <a:gd name="connsiteY4" fmla="*/ 103123 h 109473"/>
              <a:gd name="connsiteX5" fmla="*/ 6730 w 106171"/>
              <a:gd name="connsiteY5" fmla="*/ 103123 h 109473"/>
              <a:gd name="connsiteX6" fmla="*/ 6603 w 106171"/>
              <a:gd name="connsiteY6" fmla="*/ 67183 h 109473"/>
              <a:gd name="connsiteX7" fmla="*/ 9016 w 106171"/>
              <a:gd name="connsiteY7" fmla="*/ 67183 h 109473"/>
              <a:gd name="connsiteX8" fmla="*/ 10921 w 106171"/>
              <a:gd name="connsiteY8" fmla="*/ 74548 h 109473"/>
              <a:gd name="connsiteX9" fmla="*/ 14731 w 106171"/>
              <a:gd name="connsiteY9" fmla="*/ 76454 h 109473"/>
              <a:gd name="connsiteX10" fmla="*/ 24002 w 106171"/>
              <a:gd name="connsiteY10" fmla="*/ 73786 h 109473"/>
              <a:gd name="connsiteX11" fmla="*/ 37083 w 106171"/>
              <a:gd name="connsiteY11" fmla="*/ 68198 h 109473"/>
              <a:gd name="connsiteX12" fmla="*/ 36956 w 106171"/>
              <a:gd name="connsiteY12" fmla="*/ 32892 h 109473"/>
              <a:gd name="connsiteX13" fmla="*/ 22605 w 106171"/>
              <a:gd name="connsiteY13" fmla="*/ 26797 h 109473"/>
              <a:gd name="connsiteX14" fmla="*/ 14604 w 106171"/>
              <a:gd name="connsiteY14" fmla="*/ 24511 h 109473"/>
              <a:gd name="connsiteX15" fmla="*/ 11048 w 106171"/>
              <a:gd name="connsiteY15" fmla="*/ 26542 h 109473"/>
              <a:gd name="connsiteX16" fmla="*/ 9016 w 106171"/>
              <a:gd name="connsiteY16" fmla="*/ 35052 h 109473"/>
              <a:gd name="connsiteX17" fmla="*/ 6476 w 106171"/>
              <a:gd name="connsiteY17" fmla="*/ 35052 h 109473"/>
              <a:gd name="connsiteX18" fmla="*/ 6350 w 106171"/>
              <a:gd name="connsiteY18" fmla="*/ 6350 h 109473"/>
              <a:gd name="connsiteX19" fmla="*/ 8889 w 106171"/>
              <a:gd name="connsiteY19" fmla="*/ 6350 h 109473"/>
              <a:gd name="connsiteX20" fmla="*/ 11556 w 106171"/>
              <a:gd name="connsiteY20" fmla="*/ 13716 h 109473"/>
              <a:gd name="connsiteX21" fmla="*/ 24638 w 106171"/>
              <a:gd name="connsiteY21" fmla="*/ 21336 h 109473"/>
              <a:gd name="connsiteX22" fmla="*/ 99821 w 106171"/>
              <a:gd name="connsiteY22" fmla="*/ 53086 h 1094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</a:cxnLst>
            <a:rect l="l" t="t" r="r" b="b"/>
            <a:pathLst>
              <a:path w="106171" h="109473">
                <a:moveTo>
                  <a:pt x="99821" y="53086"/>
                </a:moveTo>
                <a:lnTo>
                  <a:pt x="99821" y="55498"/>
                </a:lnTo>
                <a:lnTo>
                  <a:pt x="24129" y="87503"/>
                </a:lnTo>
                <a:cubicBezTo>
                  <a:pt x="18033" y="90042"/>
                  <a:pt x="14096" y="92329"/>
                  <a:pt x="12191" y="94488"/>
                </a:cubicBezTo>
                <a:cubicBezTo>
                  <a:pt x="10413" y="96520"/>
                  <a:pt x="9397" y="99441"/>
                  <a:pt x="9143" y="103123"/>
                </a:cubicBezTo>
                <a:lnTo>
                  <a:pt x="6730" y="103123"/>
                </a:lnTo>
                <a:lnTo>
                  <a:pt x="6603" y="67183"/>
                </a:lnTo>
                <a:lnTo>
                  <a:pt x="9016" y="67183"/>
                </a:lnTo>
                <a:cubicBezTo>
                  <a:pt x="9270" y="70866"/>
                  <a:pt x="9905" y="73279"/>
                  <a:pt x="10921" y="74548"/>
                </a:cubicBezTo>
                <a:cubicBezTo>
                  <a:pt x="11938" y="75819"/>
                  <a:pt x="13207" y="76454"/>
                  <a:pt x="14731" y="76454"/>
                </a:cubicBezTo>
                <a:cubicBezTo>
                  <a:pt x="16636" y="76454"/>
                  <a:pt x="19811" y="75565"/>
                  <a:pt x="24002" y="73786"/>
                </a:cubicBezTo>
                <a:lnTo>
                  <a:pt x="37083" y="68198"/>
                </a:lnTo>
                <a:lnTo>
                  <a:pt x="36956" y="32892"/>
                </a:lnTo>
                <a:lnTo>
                  <a:pt x="22605" y="26797"/>
                </a:lnTo>
                <a:cubicBezTo>
                  <a:pt x="19050" y="25273"/>
                  <a:pt x="16382" y="24511"/>
                  <a:pt x="14604" y="24511"/>
                </a:cubicBezTo>
                <a:cubicBezTo>
                  <a:pt x="13207" y="24511"/>
                  <a:pt x="12064" y="25146"/>
                  <a:pt x="11048" y="26542"/>
                </a:cubicBezTo>
                <a:cubicBezTo>
                  <a:pt x="9905" y="27813"/>
                  <a:pt x="9270" y="30734"/>
                  <a:pt x="9016" y="35052"/>
                </a:cubicBezTo>
                <a:lnTo>
                  <a:pt x="6476" y="35052"/>
                </a:lnTo>
                <a:lnTo>
                  <a:pt x="6350" y="6350"/>
                </a:lnTo>
                <a:lnTo>
                  <a:pt x="8889" y="6350"/>
                </a:lnTo>
                <a:cubicBezTo>
                  <a:pt x="9525" y="10160"/>
                  <a:pt x="10413" y="12700"/>
                  <a:pt x="11556" y="13716"/>
                </a:cubicBezTo>
                <a:cubicBezTo>
                  <a:pt x="13715" y="16002"/>
                  <a:pt x="18033" y="18542"/>
                  <a:pt x="24638" y="21336"/>
                </a:cubicBezTo>
                <a:lnTo>
                  <a:pt x="99821" y="53086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94" name="Freeform 3"/>
          <p:cNvSpPr/>
          <p:nvPr/>
        </p:nvSpPr>
        <p:spPr>
          <a:xfrm>
            <a:off x="7020665" y="3560638"/>
            <a:ext cx="130314" cy="107667"/>
          </a:xfrm>
          <a:custGeom>
            <a:avLst/>
            <a:gdLst>
              <a:gd name="connsiteX0" fmla="*/ 126618 w 132969"/>
              <a:gd name="connsiteY0" fmla="*/ 9144 h 109854"/>
              <a:gd name="connsiteX1" fmla="*/ 125348 w 132969"/>
              <a:gd name="connsiteY1" fmla="*/ 48386 h 109854"/>
              <a:gd name="connsiteX2" fmla="*/ 122935 w 132969"/>
              <a:gd name="connsiteY2" fmla="*/ 48386 h 109854"/>
              <a:gd name="connsiteX3" fmla="*/ 120522 w 132969"/>
              <a:gd name="connsiteY3" fmla="*/ 37465 h 109854"/>
              <a:gd name="connsiteX4" fmla="*/ 109219 w 132969"/>
              <a:gd name="connsiteY4" fmla="*/ 34671 h 109854"/>
              <a:gd name="connsiteX5" fmla="*/ 48514 w 132969"/>
              <a:gd name="connsiteY5" fmla="*/ 32766 h 109854"/>
              <a:gd name="connsiteX6" fmla="*/ 40893 w 132969"/>
              <a:gd name="connsiteY6" fmla="*/ 33273 h 109854"/>
              <a:gd name="connsiteX7" fmla="*/ 39369 w 132969"/>
              <a:gd name="connsiteY7" fmla="*/ 41402 h 109854"/>
              <a:gd name="connsiteX8" fmla="*/ 38607 w 132969"/>
              <a:gd name="connsiteY8" fmla="*/ 64897 h 109854"/>
              <a:gd name="connsiteX9" fmla="*/ 39623 w 132969"/>
              <a:gd name="connsiteY9" fmla="*/ 74167 h 109854"/>
              <a:gd name="connsiteX10" fmla="*/ 48386 w 132969"/>
              <a:gd name="connsiteY10" fmla="*/ 75057 h 109854"/>
              <a:gd name="connsiteX11" fmla="*/ 107822 w 132969"/>
              <a:gd name="connsiteY11" fmla="*/ 76961 h 109854"/>
              <a:gd name="connsiteX12" fmla="*/ 119379 w 132969"/>
              <a:gd name="connsiteY12" fmla="*/ 74929 h 109854"/>
              <a:gd name="connsiteX13" fmla="*/ 122428 w 132969"/>
              <a:gd name="connsiteY13" fmla="*/ 64134 h 109854"/>
              <a:gd name="connsiteX14" fmla="*/ 124841 w 132969"/>
              <a:gd name="connsiteY14" fmla="*/ 64261 h 109854"/>
              <a:gd name="connsiteX15" fmla="*/ 123697 w 132969"/>
              <a:gd name="connsiteY15" fmla="*/ 103504 h 109854"/>
              <a:gd name="connsiteX16" fmla="*/ 121157 w 132969"/>
              <a:gd name="connsiteY16" fmla="*/ 103504 h 109854"/>
              <a:gd name="connsiteX17" fmla="*/ 118871 w 132969"/>
              <a:gd name="connsiteY17" fmla="*/ 92583 h 109854"/>
              <a:gd name="connsiteX18" fmla="*/ 107442 w 132969"/>
              <a:gd name="connsiteY18" fmla="*/ 89916 h 109854"/>
              <a:gd name="connsiteX19" fmla="*/ 49403 w 132969"/>
              <a:gd name="connsiteY19" fmla="*/ 88010 h 109854"/>
              <a:gd name="connsiteX20" fmla="*/ 37718 w 132969"/>
              <a:gd name="connsiteY20" fmla="*/ 89916 h 109854"/>
              <a:gd name="connsiteX21" fmla="*/ 35052 w 132969"/>
              <a:gd name="connsiteY21" fmla="*/ 100584 h 109854"/>
              <a:gd name="connsiteX22" fmla="*/ 6350 w 132969"/>
              <a:gd name="connsiteY22" fmla="*/ 99695 h 109854"/>
              <a:gd name="connsiteX23" fmla="*/ 6477 w 132969"/>
              <a:gd name="connsiteY23" fmla="*/ 97409 h 109854"/>
              <a:gd name="connsiteX24" fmla="*/ 25018 w 132969"/>
              <a:gd name="connsiteY24" fmla="*/ 89153 h 109854"/>
              <a:gd name="connsiteX25" fmla="*/ 33528 w 132969"/>
              <a:gd name="connsiteY25" fmla="*/ 68072 h 109854"/>
              <a:gd name="connsiteX26" fmla="*/ 35559 w 132969"/>
              <a:gd name="connsiteY26" fmla="*/ 6350 h 109854"/>
              <a:gd name="connsiteX27" fmla="*/ 37972 w 132969"/>
              <a:gd name="connsiteY27" fmla="*/ 6350 h 109854"/>
              <a:gd name="connsiteX28" fmla="*/ 40385 w 132969"/>
              <a:gd name="connsiteY28" fmla="*/ 17272 h 109854"/>
              <a:gd name="connsiteX29" fmla="*/ 51689 w 132969"/>
              <a:gd name="connsiteY29" fmla="*/ 20066 h 109854"/>
              <a:gd name="connsiteX30" fmla="*/ 109601 w 132969"/>
              <a:gd name="connsiteY30" fmla="*/ 21844 h 109854"/>
              <a:gd name="connsiteX31" fmla="*/ 121157 w 132969"/>
              <a:gd name="connsiteY31" fmla="*/ 19811 h 109854"/>
              <a:gd name="connsiteX32" fmla="*/ 124079 w 132969"/>
              <a:gd name="connsiteY32" fmla="*/ 9144 h 109854"/>
              <a:gd name="connsiteX33" fmla="*/ 126618 w 132969"/>
              <a:gd name="connsiteY33" fmla="*/ 9144 h 10985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</a:cxnLst>
            <a:rect l="l" t="t" r="r" b="b"/>
            <a:pathLst>
              <a:path w="132969" h="109854">
                <a:moveTo>
                  <a:pt x="126618" y="9144"/>
                </a:moveTo>
                <a:lnTo>
                  <a:pt x="125348" y="48386"/>
                </a:lnTo>
                <a:lnTo>
                  <a:pt x="122935" y="48386"/>
                </a:lnTo>
                <a:cubicBezTo>
                  <a:pt x="122935" y="42672"/>
                  <a:pt x="122046" y="39116"/>
                  <a:pt x="120522" y="37465"/>
                </a:cubicBezTo>
                <a:cubicBezTo>
                  <a:pt x="118998" y="35814"/>
                  <a:pt x="115189" y="34925"/>
                  <a:pt x="109219" y="34671"/>
                </a:cubicBezTo>
                <a:lnTo>
                  <a:pt x="48514" y="32766"/>
                </a:lnTo>
                <a:cubicBezTo>
                  <a:pt x="44195" y="32639"/>
                  <a:pt x="41655" y="32892"/>
                  <a:pt x="40893" y="33273"/>
                </a:cubicBezTo>
                <a:cubicBezTo>
                  <a:pt x="40004" y="33782"/>
                  <a:pt x="39496" y="36448"/>
                  <a:pt x="39369" y="41402"/>
                </a:cubicBezTo>
                <a:lnTo>
                  <a:pt x="38607" y="64897"/>
                </a:lnTo>
                <a:cubicBezTo>
                  <a:pt x="38480" y="70611"/>
                  <a:pt x="38861" y="73659"/>
                  <a:pt x="39623" y="74167"/>
                </a:cubicBezTo>
                <a:cubicBezTo>
                  <a:pt x="40513" y="74676"/>
                  <a:pt x="43433" y="74929"/>
                  <a:pt x="48386" y="75057"/>
                </a:cubicBezTo>
                <a:lnTo>
                  <a:pt x="107822" y="76961"/>
                </a:lnTo>
                <a:cubicBezTo>
                  <a:pt x="113918" y="77216"/>
                  <a:pt x="117729" y="76453"/>
                  <a:pt x="119379" y="74929"/>
                </a:cubicBezTo>
                <a:cubicBezTo>
                  <a:pt x="121030" y="73533"/>
                  <a:pt x="122046" y="69850"/>
                  <a:pt x="122428" y="64134"/>
                </a:cubicBezTo>
                <a:lnTo>
                  <a:pt x="124841" y="64261"/>
                </a:lnTo>
                <a:lnTo>
                  <a:pt x="123697" y="103504"/>
                </a:lnTo>
                <a:lnTo>
                  <a:pt x="121157" y="103504"/>
                </a:lnTo>
                <a:cubicBezTo>
                  <a:pt x="121157" y="97790"/>
                  <a:pt x="120395" y="94234"/>
                  <a:pt x="118871" y="92583"/>
                </a:cubicBezTo>
                <a:cubicBezTo>
                  <a:pt x="117220" y="90932"/>
                  <a:pt x="113410" y="90042"/>
                  <a:pt x="107442" y="89916"/>
                </a:cubicBezTo>
                <a:lnTo>
                  <a:pt x="49403" y="88010"/>
                </a:lnTo>
                <a:cubicBezTo>
                  <a:pt x="43179" y="87884"/>
                  <a:pt x="39242" y="88519"/>
                  <a:pt x="37718" y="89916"/>
                </a:cubicBezTo>
                <a:cubicBezTo>
                  <a:pt x="36067" y="91313"/>
                  <a:pt x="35179" y="94869"/>
                  <a:pt x="35052" y="100584"/>
                </a:cubicBezTo>
                <a:lnTo>
                  <a:pt x="6350" y="99695"/>
                </a:lnTo>
                <a:lnTo>
                  <a:pt x="6477" y="97409"/>
                </a:lnTo>
                <a:cubicBezTo>
                  <a:pt x="13334" y="96392"/>
                  <a:pt x="19557" y="93598"/>
                  <a:pt x="25018" y="89153"/>
                </a:cubicBezTo>
                <a:cubicBezTo>
                  <a:pt x="30353" y="84835"/>
                  <a:pt x="33273" y="77723"/>
                  <a:pt x="33528" y="68072"/>
                </a:cubicBezTo>
                <a:lnTo>
                  <a:pt x="35559" y="6350"/>
                </a:lnTo>
                <a:lnTo>
                  <a:pt x="37972" y="6350"/>
                </a:lnTo>
                <a:cubicBezTo>
                  <a:pt x="37972" y="12065"/>
                  <a:pt x="38734" y="15621"/>
                  <a:pt x="40385" y="17272"/>
                </a:cubicBezTo>
                <a:cubicBezTo>
                  <a:pt x="41909" y="18922"/>
                  <a:pt x="45719" y="19811"/>
                  <a:pt x="51689" y="20066"/>
                </a:cubicBezTo>
                <a:lnTo>
                  <a:pt x="109601" y="21844"/>
                </a:lnTo>
                <a:cubicBezTo>
                  <a:pt x="115569" y="21971"/>
                  <a:pt x="119379" y="21335"/>
                  <a:pt x="121157" y="19811"/>
                </a:cubicBezTo>
                <a:cubicBezTo>
                  <a:pt x="122808" y="18288"/>
                  <a:pt x="123825" y="14732"/>
                  <a:pt x="124079" y="9144"/>
                </a:cubicBezTo>
                <a:lnTo>
                  <a:pt x="126618" y="914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95" name="Freeform 3"/>
          <p:cNvSpPr/>
          <p:nvPr/>
        </p:nvSpPr>
        <p:spPr>
          <a:xfrm>
            <a:off x="7039831" y="3656731"/>
            <a:ext cx="107911" cy="110904"/>
          </a:xfrm>
          <a:custGeom>
            <a:avLst/>
            <a:gdLst>
              <a:gd name="connsiteX0" fmla="*/ 103759 w 110109"/>
              <a:gd name="connsiteY0" fmla="*/ 12700 h 113157"/>
              <a:gd name="connsiteX1" fmla="*/ 101092 w 110109"/>
              <a:gd name="connsiteY1" fmla="*/ 51942 h 113157"/>
              <a:gd name="connsiteX2" fmla="*/ 98552 w 110109"/>
              <a:gd name="connsiteY2" fmla="*/ 51689 h 113157"/>
              <a:gd name="connsiteX3" fmla="*/ 96646 w 110109"/>
              <a:gd name="connsiteY3" fmla="*/ 40640 h 113157"/>
              <a:gd name="connsiteX4" fmla="*/ 85471 w 110109"/>
              <a:gd name="connsiteY4" fmla="*/ 37591 h 113157"/>
              <a:gd name="connsiteX5" fmla="*/ 33020 w 110109"/>
              <a:gd name="connsiteY5" fmla="*/ 33909 h 113157"/>
              <a:gd name="connsiteX6" fmla="*/ 84073 w 110109"/>
              <a:gd name="connsiteY6" fmla="*/ 79755 h 113157"/>
              <a:gd name="connsiteX7" fmla="*/ 94615 w 110109"/>
              <a:gd name="connsiteY7" fmla="*/ 77851 h 113157"/>
              <a:gd name="connsiteX8" fmla="*/ 97535 w 110109"/>
              <a:gd name="connsiteY8" fmla="*/ 67309 h 113157"/>
              <a:gd name="connsiteX9" fmla="*/ 99948 w 110109"/>
              <a:gd name="connsiteY9" fmla="*/ 67564 h 113157"/>
              <a:gd name="connsiteX10" fmla="*/ 97282 w 110109"/>
              <a:gd name="connsiteY10" fmla="*/ 106807 h 113157"/>
              <a:gd name="connsiteX11" fmla="*/ 94869 w 110109"/>
              <a:gd name="connsiteY11" fmla="*/ 106679 h 113157"/>
              <a:gd name="connsiteX12" fmla="*/ 92836 w 110109"/>
              <a:gd name="connsiteY12" fmla="*/ 95758 h 113157"/>
              <a:gd name="connsiteX13" fmla="*/ 81660 w 110109"/>
              <a:gd name="connsiteY13" fmla="*/ 92583 h 113157"/>
              <a:gd name="connsiteX14" fmla="*/ 23876 w 110109"/>
              <a:gd name="connsiteY14" fmla="*/ 88646 h 113157"/>
              <a:gd name="connsiteX15" fmla="*/ 12319 w 110109"/>
              <a:gd name="connsiteY15" fmla="*/ 90170 h 113157"/>
              <a:gd name="connsiteX16" fmla="*/ 8890 w 110109"/>
              <a:gd name="connsiteY16" fmla="*/ 100710 h 113157"/>
              <a:gd name="connsiteX17" fmla="*/ 6350 w 110109"/>
              <a:gd name="connsiteY17" fmla="*/ 100584 h 113157"/>
              <a:gd name="connsiteX18" fmla="*/ 9144 w 110109"/>
              <a:gd name="connsiteY18" fmla="*/ 61214 h 113157"/>
              <a:gd name="connsiteX19" fmla="*/ 11557 w 110109"/>
              <a:gd name="connsiteY19" fmla="*/ 61467 h 113157"/>
              <a:gd name="connsiteX20" fmla="*/ 13461 w 110109"/>
              <a:gd name="connsiteY20" fmla="*/ 72644 h 113157"/>
              <a:gd name="connsiteX21" fmla="*/ 24765 w 110109"/>
              <a:gd name="connsiteY21" fmla="*/ 75691 h 113157"/>
              <a:gd name="connsiteX22" fmla="*/ 76834 w 110109"/>
              <a:gd name="connsiteY22" fmla="*/ 79375 h 113157"/>
              <a:gd name="connsiteX23" fmla="*/ 25781 w 110109"/>
              <a:gd name="connsiteY23" fmla="*/ 33401 h 113157"/>
              <a:gd name="connsiteX24" fmla="*/ 17907 w 110109"/>
              <a:gd name="connsiteY24" fmla="*/ 33654 h 113157"/>
              <a:gd name="connsiteX25" fmla="*/ 14605 w 110109"/>
              <a:gd name="connsiteY25" fmla="*/ 36703 h 113157"/>
              <a:gd name="connsiteX26" fmla="*/ 12700 w 110109"/>
              <a:gd name="connsiteY26" fmla="*/ 45847 h 113157"/>
              <a:gd name="connsiteX27" fmla="*/ 10159 w 110109"/>
              <a:gd name="connsiteY27" fmla="*/ 45592 h 113157"/>
              <a:gd name="connsiteX28" fmla="*/ 12827 w 110109"/>
              <a:gd name="connsiteY28" fmla="*/ 6350 h 113157"/>
              <a:gd name="connsiteX29" fmla="*/ 15367 w 110109"/>
              <a:gd name="connsiteY29" fmla="*/ 6603 h 113157"/>
              <a:gd name="connsiteX30" fmla="*/ 17271 w 110109"/>
              <a:gd name="connsiteY30" fmla="*/ 17526 h 113157"/>
              <a:gd name="connsiteX31" fmla="*/ 28575 w 110109"/>
              <a:gd name="connsiteY31" fmla="*/ 20701 h 113157"/>
              <a:gd name="connsiteX32" fmla="*/ 86359 w 110109"/>
              <a:gd name="connsiteY32" fmla="*/ 24638 h 113157"/>
              <a:gd name="connsiteX33" fmla="*/ 97917 w 110109"/>
              <a:gd name="connsiteY33" fmla="*/ 23114 h 113157"/>
              <a:gd name="connsiteX34" fmla="*/ 101346 w 110109"/>
              <a:gd name="connsiteY34" fmla="*/ 12446 h 113157"/>
              <a:gd name="connsiteX35" fmla="*/ 103759 w 110109"/>
              <a:gd name="connsiteY35" fmla="*/ 12700 h 11315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</a:cxnLst>
            <a:rect l="l" t="t" r="r" b="b"/>
            <a:pathLst>
              <a:path w="110109" h="113157">
                <a:moveTo>
                  <a:pt x="103759" y="12700"/>
                </a:moveTo>
                <a:lnTo>
                  <a:pt x="101092" y="51942"/>
                </a:lnTo>
                <a:lnTo>
                  <a:pt x="98552" y="51689"/>
                </a:lnTo>
                <a:cubicBezTo>
                  <a:pt x="98806" y="45973"/>
                  <a:pt x="98171" y="42290"/>
                  <a:pt x="96646" y="40640"/>
                </a:cubicBezTo>
                <a:cubicBezTo>
                  <a:pt x="95122" y="38989"/>
                  <a:pt x="91440" y="37972"/>
                  <a:pt x="85471" y="37591"/>
                </a:cubicBezTo>
                <a:lnTo>
                  <a:pt x="33020" y="33909"/>
                </a:lnTo>
                <a:lnTo>
                  <a:pt x="84073" y="79755"/>
                </a:lnTo>
                <a:cubicBezTo>
                  <a:pt x="89534" y="80136"/>
                  <a:pt x="93091" y="79502"/>
                  <a:pt x="94615" y="77851"/>
                </a:cubicBezTo>
                <a:cubicBezTo>
                  <a:pt x="96139" y="76200"/>
                  <a:pt x="97155" y="72644"/>
                  <a:pt x="97535" y="67309"/>
                </a:cubicBezTo>
                <a:lnTo>
                  <a:pt x="99948" y="67564"/>
                </a:lnTo>
                <a:lnTo>
                  <a:pt x="97282" y="106807"/>
                </a:lnTo>
                <a:lnTo>
                  <a:pt x="94869" y="106679"/>
                </a:lnTo>
                <a:cubicBezTo>
                  <a:pt x="94996" y="101091"/>
                  <a:pt x="94360" y="97409"/>
                  <a:pt x="92836" y="95758"/>
                </a:cubicBezTo>
                <a:cubicBezTo>
                  <a:pt x="91313" y="93979"/>
                  <a:pt x="87630" y="92964"/>
                  <a:pt x="81660" y="92583"/>
                </a:cubicBezTo>
                <a:lnTo>
                  <a:pt x="23876" y="88646"/>
                </a:lnTo>
                <a:cubicBezTo>
                  <a:pt x="17907" y="88138"/>
                  <a:pt x="13970" y="88646"/>
                  <a:pt x="12319" y="90170"/>
                </a:cubicBezTo>
                <a:cubicBezTo>
                  <a:pt x="10541" y="91566"/>
                  <a:pt x="9397" y="95122"/>
                  <a:pt x="8890" y="100710"/>
                </a:cubicBezTo>
                <a:lnTo>
                  <a:pt x="6350" y="100584"/>
                </a:lnTo>
                <a:lnTo>
                  <a:pt x="9144" y="61214"/>
                </a:lnTo>
                <a:lnTo>
                  <a:pt x="11557" y="61467"/>
                </a:lnTo>
                <a:cubicBezTo>
                  <a:pt x="11303" y="67183"/>
                  <a:pt x="11938" y="70865"/>
                  <a:pt x="13461" y="72644"/>
                </a:cubicBezTo>
                <a:cubicBezTo>
                  <a:pt x="14985" y="74295"/>
                  <a:pt x="18796" y="75310"/>
                  <a:pt x="24765" y="75691"/>
                </a:cubicBezTo>
                <a:lnTo>
                  <a:pt x="76834" y="79375"/>
                </a:lnTo>
                <a:lnTo>
                  <a:pt x="25781" y="33401"/>
                </a:lnTo>
                <a:cubicBezTo>
                  <a:pt x="21844" y="33147"/>
                  <a:pt x="19304" y="33273"/>
                  <a:pt x="17907" y="33654"/>
                </a:cubicBezTo>
                <a:cubicBezTo>
                  <a:pt x="16509" y="34035"/>
                  <a:pt x="15367" y="35052"/>
                  <a:pt x="14605" y="36703"/>
                </a:cubicBezTo>
                <a:cubicBezTo>
                  <a:pt x="13716" y="38353"/>
                  <a:pt x="13081" y="41402"/>
                  <a:pt x="12700" y="45847"/>
                </a:cubicBezTo>
                <a:lnTo>
                  <a:pt x="10159" y="45592"/>
                </a:lnTo>
                <a:lnTo>
                  <a:pt x="12827" y="6350"/>
                </a:lnTo>
                <a:lnTo>
                  <a:pt x="15367" y="6603"/>
                </a:lnTo>
                <a:cubicBezTo>
                  <a:pt x="15113" y="12191"/>
                  <a:pt x="15747" y="15875"/>
                  <a:pt x="17271" y="17526"/>
                </a:cubicBezTo>
                <a:cubicBezTo>
                  <a:pt x="18796" y="19177"/>
                  <a:pt x="22479" y="20320"/>
                  <a:pt x="28575" y="20701"/>
                </a:cubicBezTo>
                <a:lnTo>
                  <a:pt x="86359" y="24638"/>
                </a:lnTo>
                <a:cubicBezTo>
                  <a:pt x="92329" y="25019"/>
                  <a:pt x="96139" y="24510"/>
                  <a:pt x="97917" y="23114"/>
                </a:cubicBezTo>
                <a:cubicBezTo>
                  <a:pt x="99568" y="21590"/>
                  <a:pt x="100710" y="18160"/>
                  <a:pt x="101346" y="12446"/>
                </a:cubicBezTo>
                <a:lnTo>
                  <a:pt x="103759" y="1270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96" name="Freeform 3"/>
          <p:cNvSpPr/>
          <p:nvPr/>
        </p:nvSpPr>
        <p:spPr>
          <a:xfrm>
            <a:off x="7078789" y="3789916"/>
            <a:ext cx="51653" cy="43565"/>
          </a:xfrm>
          <a:custGeom>
            <a:avLst/>
            <a:gdLst>
              <a:gd name="connsiteX0" fmla="*/ 46355 w 52705"/>
              <a:gd name="connsiteY0" fmla="*/ 27813 h 44450"/>
              <a:gd name="connsiteX1" fmla="*/ 42545 w 52705"/>
              <a:gd name="connsiteY1" fmla="*/ 13207 h 44450"/>
              <a:gd name="connsiteX2" fmla="*/ 29336 w 52705"/>
              <a:gd name="connsiteY2" fmla="*/ 6350 h 44450"/>
              <a:gd name="connsiteX3" fmla="*/ 14351 w 52705"/>
              <a:gd name="connsiteY3" fmla="*/ 11429 h 44450"/>
              <a:gd name="connsiteX4" fmla="*/ 6604 w 52705"/>
              <a:gd name="connsiteY4" fmla="*/ 30352 h 44450"/>
              <a:gd name="connsiteX5" fmla="*/ 6477 w 52705"/>
              <a:gd name="connsiteY5" fmla="*/ 31876 h 44450"/>
              <a:gd name="connsiteX6" fmla="*/ 6350 w 52705"/>
              <a:gd name="connsiteY6" fmla="*/ 34035 h 44450"/>
              <a:gd name="connsiteX7" fmla="*/ 43942 w 52705"/>
              <a:gd name="connsiteY7" fmla="*/ 38100 h 44450"/>
              <a:gd name="connsiteX8" fmla="*/ 46355 w 52705"/>
              <a:gd name="connsiteY8" fmla="*/ 27813 h 4445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52705" h="44450">
                <a:moveTo>
                  <a:pt x="46355" y="27813"/>
                </a:moveTo>
                <a:cubicBezTo>
                  <a:pt x="46990" y="21970"/>
                  <a:pt x="45720" y="17017"/>
                  <a:pt x="42545" y="13207"/>
                </a:cubicBezTo>
                <a:cubicBezTo>
                  <a:pt x="39496" y="9270"/>
                  <a:pt x="35052" y="6984"/>
                  <a:pt x="29336" y="6350"/>
                </a:cubicBezTo>
                <a:cubicBezTo>
                  <a:pt x="23621" y="5714"/>
                  <a:pt x="18542" y="7365"/>
                  <a:pt x="14351" y="11429"/>
                </a:cubicBezTo>
                <a:cubicBezTo>
                  <a:pt x="10159" y="15366"/>
                  <a:pt x="7620" y="21716"/>
                  <a:pt x="6604" y="30352"/>
                </a:cubicBezTo>
                <a:cubicBezTo>
                  <a:pt x="6604" y="30733"/>
                  <a:pt x="6604" y="31241"/>
                  <a:pt x="6477" y="31876"/>
                </a:cubicBezTo>
                <a:cubicBezTo>
                  <a:pt x="6477" y="32511"/>
                  <a:pt x="6350" y="33273"/>
                  <a:pt x="6350" y="34035"/>
                </a:cubicBezTo>
                <a:lnTo>
                  <a:pt x="43942" y="38100"/>
                </a:lnTo>
                <a:cubicBezTo>
                  <a:pt x="45339" y="33782"/>
                  <a:pt x="46101" y="30352"/>
                  <a:pt x="46355" y="27813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97" name="Freeform 3"/>
          <p:cNvSpPr/>
          <p:nvPr/>
        </p:nvSpPr>
        <p:spPr>
          <a:xfrm>
            <a:off x="7030372" y="3749090"/>
            <a:ext cx="104924" cy="110405"/>
          </a:xfrm>
          <a:custGeom>
            <a:avLst/>
            <a:gdLst>
              <a:gd name="connsiteX0" fmla="*/ 100457 w 107061"/>
              <a:gd name="connsiteY0" fmla="*/ 73278 h 112648"/>
              <a:gd name="connsiteX1" fmla="*/ 96901 w 107061"/>
              <a:gd name="connsiteY1" fmla="*/ 106298 h 112648"/>
              <a:gd name="connsiteX2" fmla="*/ 94488 w 107061"/>
              <a:gd name="connsiteY2" fmla="*/ 106044 h 112648"/>
              <a:gd name="connsiteX3" fmla="*/ 94869 w 107061"/>
              <a:gd name="connsiteY3" fmla="*/ 102615 h 112648"/>
              <a:gd name="connsiteX4" fmla="*/ 92710 w 107061"/>
              <a:gd name="connsiteY4" fmla="*/ 94488 h 112648"/>
              <a:gd name="connsiteX5" fmla="*/ 82296 w 107061"/>
              <a:gd name="connsiteY5" fmla="*/ 91566 h 112648"/>
              <a:gd name="connsiteX6" fmla="*/ 23748 w 107061"/>
              <a:gd name="connsiteY6" fmla="*/ 85216 h 112648"/>
              <a:gd name="connsiteX7" fmla="*/ 13843 w 107061"/>
              <a:gd name="connsiteY7" fmla="*/ 85470 h 112648"/>
              <a:gd name="connsiteX8" fmla="*/ 9144 w 107061"/>
              <a:gd name="connsiteY8" fmla="*/ 93344 h 112648"/>
              <a:gd name="connsiteX9" fmla="*/ 8763 w 107061"/>
              <a:gd name="connsiteY9" fmla="*/ 96773 h 112648"/>
              <a:gd name="connsiteX10" fmla="*/ 6350 w 107061"/>
              <a:gd name="connsiteY10" fmla="*/ 96519 h 112648"/>
              <a:gd name="connsiteX11" fmla="*/ 10541 w 107061"/>
              <a:gd name="connsiteY11" fmla="*/ 57657 h 112648"/>
              <a:gd name="connsiteX12" fmla="*/ 12954 w 107061"/>
              <a:gd name="connsiteY12" fmla="*/ 57911 h 112648"/>
              <a:gd name="connsiteX13" fmla="*/ 12573 w 107061"/>
              <a:gd name="connsiteY13" fmla="*/ 61467 h 112648"/>
              <a:gd name="connsiteX14" fmla="*/ 14732 w 107061"/>
              <a:gd name="connsiteY14" fmla="*/ 69341 h 112648"/>
              <a:gd name="connsiteX15" fmla="*/ 25146 w 107061"/>
              <a:gd name="connsiteY15" fmla="*/ 72389 h 112648"/>
              <a:gd name="connsiteX16" fmla="*/ 51435 w 107061"/>
              <a:gd name="connsiteY16" fmla="*/ 75310 h 112648"/>
              <a:gd name="connsiteX17" fmla="*/ 51561 w 107061"/>
              <a:gd name="connsiteY17" fmla="*/ 73151 h 112648"/>
              <a:gd name="connsiteX18" fmla="*/ 51816 w 107061"/>
              <a:gd name="connsiteY18" fmla="*/ 71246 h 112648"/>
              <a:gd name="connsiteX19" fmla="*/ 52451 w 107061"/>
              <a:gd name="connsiteY19" fmla="*/ 65785 h 112648"/>
              <a:gd name="connsiteX20" fmla="*/ 13461 w 107061"/>
              <a:gd name="connsiteY20" fmla="*/ 30479 h 112648"/>
              <a:gd name="connsiteX21" fmla="*/ 16129 w 107061"/>
              <a:gd name="connsiteY21" fmla="*/ 6350 h 112648"/>
              <a:gd name="connsiteX22" fmla="*/ 18542 w 107061"/>
              <a:gd name="connsiteY22" fmla="*/ 6603 h 112648"/>
              <a:gd name="connsiteX23" fmla="*/ 20955 w 107061"/>
              <a:gd name="connsiteY23" fmla="*/ 19050 h 112648"/>
              <a:gd name="connsiteX24" fmla="*/ 31750 w 107061"/>
              <a:gd name="connsiteY24" fmla="*/ 31369 h 112648"/>
              <a:gd name="connsiteX25" fmla="*/ 55626 w 107061"/>
              <a:gd name="connsiteY25" fmla="*/ 52831 h 112648"/>
              <a:gd name="connsiteX26" fmla="*/ 66167 w 107061"/>
              <a:gd name="connsiteY26" fmla="*/ 36956 h 112648"/>
              <a:gd name="connsiteX27" fmla="*/ 81280 w 107061"/>
              <a:gd name="connsiteY27" fmla="*/ 33019 h 112648"/>
              <a:gd name="connsiteX28" fmla="*/ 94234 w 107061"/>
              <a:gd name="connsiteY28" fmla="*/ 39242 h 112648"/>
              <a:gd name="connsiteX29" fmla="*/ 100711 w 107061"/>
              <a:gd name="connsiteY29" fmla="*/ 51815 h 112648"/>
              <a:gd name="connsiteX30" fmla="*/ 100457 w 107061"/>
              <a:gd name="connsiteY30" fmla="*/ 73278 h 11264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</a:cxnLst>
            <a:rect l="l" t="t" r="r" b="b"/>
            <a:pathLst>
              <a:path w="107061" h="112648">
                <a:moveTo>
                  <a:pt x="100457" y="73278"/>
                </a:moveTo>
                <a:lnTo>
                  <a:pt x="96901" y="106298"/>
                </a:lnTo>
                <a:lnTo>
                  <a:pt x="94488" y="106044"/>
                </a:lnTo>
                <a:lnTo>
                  <a:pt x="94869" y="102615"/>
                </a:lnTo>
                <a:cubicBezTo>
                  <a:pt x="95250" y="99186"/>
                  <a:pt x="94488" y="96519"/>
                  <a:pt x="92710" y="94488"/>
                </a:cubicBezTo>
                <a:cubicBezTo>
                  <a:pt x="91440" y="93090"/>
                  <a:pt x="88011" y="92075"/>
                  <a:pt x="82296" y="91566"/>
                </a:cubicBezTo>
                <a:lnTo>
                  <a:pt x="23748" y="85216"/>
                </a:lnTo>
                <a:cubicBezTo>
                  <a:pt x="18669" y="84581"/>
                  <a:pt x="15240" y="84708"/>
                  <a:pt x="13843" y="85470"/>
                </a:cubicBezTo>
                <a:cubicBezTo>
                  <a:pt x="11176" y="86867"/>
                  <a:pt x="9525" y="89534"/>
                  <a:pt x="9144" y="93344"/>
                </a:cubicBezTo>
                <a:lnTo>
                  <a:pt x="8763" y="96773"/>
                </a:lnTo>
                <a:lnTo>
                  <a:pt x="6350" y="96519"/>
                </a:lnTo>
                <a:lnTo>
                  <a:pt x="10541" y="57657"/>
                </a:lnTo>
                <a:lnTo>
                  <a:pt x="12954" y="57911"/>
                </a:lnTo>
                <a:lnTo>
                  <a:pt x="12573" y="61467"/>
                </a:lnTo>
                <a:cubicBezTo>
                  <a:pt x="12319" y="64896"/>
                  <a:pt x="12954" y="67436"/>
                  <a:pt x="14732" y="69341"/>
                </a:cubicBezTo>
                <a:cubicBezTo>
                  <a:pt x="16002" y="70738"/>
                  <a:pt x="19431" y="71754"/>
                  <a:pt x="25146" y="72389"/>
                </a:cubicBezTo>
                <a:lnTo>
                  <a:pt x="51435" y="75310"/>
                </a:lnTo>
                <a:cubicBezTo>
                  <a:pt x="51561" y="74548"/>
                  <a:pt x="51561" y="73786"/>
                  <a:pt x="51561" y="73151"/>
                </a:cubicBezTo>
                <a:cubicBezTo>
                  <a:pt x="51689" y="72516"/>
                  <a:pt x="51689" y="71881"/>
                  <a:pt x="51816" y="71246"/>
                </a:cubicBezTo>
                <a:cubicBezTo>
                  <a:pt x="51943" y="69850"/>
                  <a:pt x="52197" y="68071"/>
                  <a:pt x="52451" y="65785"/>
                </a:cubicBezTo>
                <a:lnTo>
                  <a:pt x="13461" y="30479"/>
                </a:lnTo>
                <a:lnTo>
                  <a:pt x="16129" y="6350"/>
                </a:lnTo>
                <a:lnTo>
                  <a:pt x="18542" y="6603"/>
                </a:lnTo>
                <a:cubicBezTo>
                  <a:pt x="18542" y="11556"/>
                  <a:pt x="19431" y="15747"/>
                  <a:pt x="20955" y="19050"/>
                </a:cubicBezTo>
                <a:cubicBezTo>
                  <a:pt x="22606" y="22351"/>
                  <a:pt x="26161" y="26415"/>
                  <a:pt x="31750" y="31369"/>
                </a:cubicBezTo>
                <a:lnTo>
                  <a:pt x="55626" y="52831"/>
                </a:lnTo>
                <a:cubicBezTo>
                  <a:pt x="58166" y="45465"/>
                  <a:pt x="61722" y="40131"/>
                  <a:pt x="66167" y="36956"/>
                </a:cubicBezTo>
                <a:cubicBezTo>
                  <a:pt x="70739" y="33781"/>
                  <a:pt x="75692" y="32511"/>
                  <a:pt x="81280" y="33019"/>
                </a:cubicBezTo>
                <a:cubicBezTo>
                  <a:pt x="86486" y="33654"/>
                  <a:pt x="90805" y="35686"/>
                  <a:pt x="94234" y="39242"/>
                </a:cubicBezTo>
                <a:cubicBezTo>
                  <a:pt x="97663" y="42925"/>
                  <a:pt x="99822" y="46989"/>
                  <a:pt x="100711" y="51815"/>
                </a:cubicBezTo>
                <a:cubicBezTo>
                  <a:pt x="101600" y="56514"/>
                  <a:pt x="101600" y="63626"/>
                  <a:pt x="100457" y="73278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98" name="Freeform 3"/>
          <p:cNvSpPr/>
          <p:nvPr/>
        </p:nvSpPr>
        <p:spPr>
          <a:xfrm>
            <a:off x="5921083" y="3951294"/>
            <a:ext cx="946427" cy="725420"/>
          </a:xfrm>
          <a:custGeom>
            <a:avLst/>
            <a:gdLst>
              <a:gd name="connsiteX0" fmla="*/ 296989 w 965708"/>
              <a:gd name="connsiteY0" fmla="*/ 377507 h 740155"/>
              <a:gd name="connsiteX1" fmla="*/ 559625 w 965708"/>
              <a:gd name="connsiteY1" fmla="*/ 52387 h 740155"/>
              <a:gd name="connsiteX2" fmla="*/ 951420 w 965708"/>
              <a:gd name="connsiteY2" fmla="*/ 14287 h 740155"/>
              <a:gd name="connsiteX3" fmla="*/ 487997 w 965708"/>
              <a:gd name="connsiteY3" fmla="*/ 588073 h 740155"/>
              <a:gd name="connsiteX4" fmla="*/ 598106 w 965708"/>
              <a:gd name="connsiteY4" fmla="*/ 709485 h 740155"/>
              <a:gd name="connsiteX5" fmla="*/ 14287 w 965708"/>
              <a:gd name="connsiteY5" fmla="*/ 725868 h 740155"/>
              <a:gd name="connsiteX6" fmla="*/ 186753 w 965708"/>
              <a:gd name="connsiteY6" fmla="*/ 256095 h 740155"/>
              <a:gd name="connsiteX7" fmla="*/ 296989 w 965708"/>
              <a:gd name="connsiteY7" fmla="*/ 377507 h 74015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965708" h="740155">
                <a:moveTo>
                  <a:pt x="296989" y="377507"/>
                </a:moveTo>
                <a:cubicBezTo>
                  <a:pt x="432879" y="290131"/>
                  <a:pt x="529145" y="171005"/>
                  <a:pt x="559625" y="52387"/>
                </a:cubicBezTo>
                <a:lnTo>
                  <a:pt x="951420" y="14287"/>
                </a:lnTo>
                <a:cubicBezTo>
                  <a:pt x="897699" y="223710"/>
                  <a:pt x="728027" y="433768"/>
                  <a:pt x="487997" y="588073"/>
                </a:cubicBezTo>
                <a:lnTo>
                  <a:pt x="598106" y="709485"/>
                </a:lnTo>
                <a:lnTo>
                  <a:pt x="14287" y="725868"/>
                </a:lnTo>
                <a:lnTo>
                  <a:pt x="186753" y="256095"/>
                </a:lnTo>
                <a:lnTo>
                  <a:pt x="296989" y="377507"/>
                </a:lnTo>
              </a:path>
            </a:pathLst>
          </a:custGeom>
          <a:solidFill>
            <a:srgbClr val="000000">
              <a:alpha val="0"/>
            </a:srgbClr>
          </a:solidFill>
          <a:ln w="25400">
            <a:solidFill>
              <a:srgbClr val="A50021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99" name="Freeform 3"/>
          <p:cNvSpPr/>
          <p:nvPr/>
        </p:nvSpPr>
        <p:spPr>
          <a:xfrm>
            <a:off x="2284108" y="4051866"/>
            <a:ext cx="1189505" cy="938517"/>
          </a:xfrm>
          <a:custGeom>
            <a:avLst/>
            <a:gdLst>
              <a:gd name="connsiteX0" fmla="*/ 603567 w 1213738"/>
              <a:gd name="connsiteY0" fmla="*/ 286194 h 957580"/>
              <a:gd name="connsiteX1" fmla="*/ 910399 w 1213738"/>
              <a:gd name="connsiteY1" fmla="*/ 452437 h 957580"/>
              <a:gd name="connsiteX2" fmla="*/ 1199451 w 1213738"/>
              <a:gd name="connsiteY2" fmla="*/ 943292 h 957580"/>
              <a:gd name="connsiteX3" fmla="*/ 486600 w 1213738"/>
              <a:gd name="connsiteY3" fmla="*/ 556958 h 957580"/>
              <a:gd name="connsiteX4" fmla="*/ 435292 w 1213738"/>
              <a:gd name="connsiteY4" fmla="*/ 675830 h 957580"/>
              <a:gd name="connsiteX5" fmla="*/ 14287 w 1213738"/>
              <a:gd name="connsiteY5" fmla="*/ 14287 h 957580"/>
              <a:gd name="connsiteX6" fmla="*/ 654875 w 1213738"/>
              <a:gd name="connsiteY6" fmla="*/ 167322 h 957580"/>
              <a:gd name="connsiteX7" fmla="*/ 603567 w 1213738"/>
              <a:gd name="connsiteY7" fmla="*/ 286194 h 95758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1213738" h="957580">
                <a:moveTo>
                  <a:pt x="603567" y="286194"/>
                </a:moveTo>
                <a:cubicBezTo>
                  <a:pt x="708469" y="366712"/>
                  <a:pt x="817689" y="425894"/>
                  <a:pt x="910399" y="452437"/>
                </a:cubicBezTo>
                <a:lnTo>
                  <a:pt x="1199451" y="943292"/>
                </a:lnTo>
                <a:cubicBezTo>
                  <a:pt x="983932" y="881443"/>
                  <a:pt x="730313" y="743902"/>
                  <a:pt x="486600" y="556958"/>
                </a:cubicBezTo>
                <a:lnTo>
                  <a:pt x="435292" y="675830"/>
                </a:lnTo>
                <a:lnTo>
                  <a:pt x="14287" y="14287"/>
                </a:lnTo>
                <a:lnTo>
                  <a:pt x="654875" y="167322"/>
                </a:lnTo>
                <a:lnTo>
                  <a:pt x="603567" y="286194"/>
                </a:lnTo>
              </a:path>
            </a:pathLst>
          </a:custGeom>
          <a:solidFill>
            <a:srgbClr val="000000">
              <a:alpha val="0"/>
            </a:srgbClr>
          </a:solidFill>
          <a:ln w="25400">
            <a:solidFill>
              <a:srgbClr val="A50021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00" name="Freeform 3"/>
          <p:cNvSpPr/>
          <p:nvPr/>
        </p:nvSpPr>
        <p:spPr>
          <a:xfrm>
            <a:off x="2079862" y="1484761"/>
            <a:ext cx="1386036" cy="856615"/>
          </a:xfrm>
          <a:custGeom>
            <a:avLst/>
            <a:gdLst>
              <a:gd name="connsiteX0" fmla="*/ 915098 w 1414272"/>
              <a:gd name="connsiteY0" fmla="*/ 495871 h 874014"/>
              <a:gd name="connsiteX1" fmla="*/ 868235 w 1414272"/>
              <a:gd name="connsiteY1" fmla="*/ 511492 h 874014"/>
              <a:gd name="connsiteX2" fmla="*/ 557974 w 1414272"/>
              <a:gd name="connsiteY2" fmla="*/ 791019 h 874014"/>
              <a:gd name="connsiteX3" fmla="*/ 14287 w 1414272"/>
              <a:gd name="connsiteY3" fmla="*/ 859726 h 874014"/>
              <a:gd name="connsiteX4" fmla="*/ 750252 w 1414272"/>
              <a:gd name="connsiteY4" fmla="*/ 196913 h 874014"/>
              <a:gd name="connsiteX5" fmla="*/ 861250 w 1414272"/>
              <a:gd name="connsiteY5" fmla="*/ 159575 h 874014"/>
              <a:gd name="connsiteX6" fmla="*/ 838009 w 1414272"/>
              <a:gd name="connsiteY6" fmla="*/ 14287 h 874014"/>
              <a:gd name="connsiteX7" fmla="*/ 1399984 w 1414272"/>
              <a:gd name="connsiteY7" fmla="*/ 174942 h 874014"/>
              <a:gd name="connsiteX8" fmla="*/ 938339 w 1414272"/>
              <a:gd name="connsiteY8" fmla="*/ 641159 h 874014"/>
              <a:gd name="connsiteX9" fmla="*/ 915098 w 1414272"/>
              <a:gd name="connsiteY9" fmla="*/ 495871 h 87401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</a:cxnLst>
            <a:rect l="l" t="t" r="r" b="b"/>
            <a:pathLst>
              <a:path w="1414272" h="874014">
                <a:moveTo>
                  <a:pt x="915098" y="495871"/>
                </a:moveTo>
                <a:cubicBezTo>
                  <a:pt x="899350" y="500443"/>
                  <a:pt x="883729" y="505777"/>
                  <a:pt x="868235" y="511492"/>
                </a:cubicBezTo>
                <a:cubicBezTo>
                  <a:pt x="708469" y="571563"/>
                  <a:pt x="585787" y="682053"/>
                  <a:pt x="557974" y="791019"/>
                </a:cubicBezTo>
                <a:lnTo>
                  <a:pt x="14287" y="859726"/>
                </a:lnTo>
                <a:cubicBezTo>
                  <a:pt x="80200" y="601154"/>
                  <a:pt x="371284" y="339153"/>
                  <a:pt x="750252" y="196913"/>
                </a:cubicBezTo>
                <a:cubicBezTo>
                  <a:pt x="786828" y="183197"/>
                  <a:pt x="823912" y="170751"/>
                  <a:pt x="861250" y="159575"/>
                </a:cubicBezTo>
                <a:lnTo>
                  <a:pt x="838009" y="14287"/>
                </a:lnTo>
                <a:lnTo>
                  <a:pt x="1399984" y="174942"/>
                </a:lnTo>
                <a:lnTo>
                  <a:pt x="938339" y="641159"/>
                </a:lnTo>
                <a:lnTo>
                  <a:pt x="915098" y="495871"/>
                </a:lnTo>
              </a:path>
            </a:pathLst>
          </a:custGeom>
          <a:solidFill>
            <a:srgbClr val="000000">
              <a:alpha val="0"/>
            </a:srgbClr>
          </a:solidFill>
          <a:ln w="25400">
            <a:solidFill>
              <a:srgbClr val="A50021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01" name="Freeform 3"/>
          <p:cNvSpPr/>
          <p:nvPr/>
        </p:nvSpPr>
        <p:spPr>
          <a:xfrm>
            <a:off x="3628511" y="1390599"/>
            <a:ext cx="59618" cy="74434"/>
          </a:xfrm>
          <a:custGeom>
            <a:avLst/>
            <a:gdLst>
              <a:gd name="connsiteX0" fmla="*/ 19811 w 60833"/>
              <a:gd name="connsiteY0" fmla="*/ 6350 h 75946"/>
              <a:gd name="connsiteX1" fmla="*/ 6350 w 60833"/>
              <a:gd name="connsiteY1" fmla="*/ 10159 h 75946"/>
              <a:gd name="connsiteX2" fmla="*/ 14351 w 60833"/>
              <a:gd name="connsiteY2" fmla="*/ 69341 h 75946"/>
              <a:gd name="connsiteX3" fmla="*/ 24384 w 60833"/>
              <a:gd name="connsiteY3" fmla="*/ 69595 h 75946"/>
              <a:gd name="connsiteX4" fmla="*/ 31877 w 60833"/>
              <a:gd name="connsiteY4" fmla="*/ 69088 h 75946"/>
              <a:gd name="connsiteX5" fmla="*/ 49529 w 60833"/>
              <a:gd name="connsiteY5" fmla="*/ 58166 h 75946"/>
              <a:gd name="connsiteX6" fmla="*/ 54483 w 60833"/>
              <a:gd name="connsiteY6" fmla="*/ 35178 h 75946"/>
              <a:gd name="connsiteX7" fmla="*/ 48386 w 60833"/>
              <a:gd name="connsiteY7" fmla="*/ 18541 h 75946"/>
              <a:gd name="connsiteX8" fmla="*/ 36067 w 60833"/>
              <a:gd name="connsiteY8" fmla="*/ 8127 h 75946"/>
              <a:gd name="connsiteX9" fmla="*/ 19811 w 60833"/>
              <a:gd name="connsiteY9" fmla="*/ 6350 h 7594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</a:cxnLst>
            <a:rect l="l" t="t" r="r" b="b"/>
            <a:pathLst>
              <a:path w="60833" h="75946">
                <a:moveTo>
                  <a:pt x="19811" y="6350"/>
                </a:moveTo>
                <a:cubicBezTo>
                  <a:pt x="16255" y="6858"/>
                  <a:pt x="11684" y="8127"/>
                  <a:pt x="6350" y="10159"/>
                </a:cubicBezTo>
                <a:lnTo>
                  <a:pt x="14351" y="69341"/>
                </a:lnTo>
                <a:cubicBezTo>
                  <a:pt x="18160" y="69595"/>
                  <a:pt x="21463" y="69595"/>
                  <a:pt x="24384" y="69595"/>
                </a:cubicBezTo>
                <a:cubicBezTo>
                  <a:pt x="27304" y="69595"/>
                  <a:pt x="29845" y="69469"/>
                  <a:pt x="31877" y="69088"/>
                </a:cubicBezTo>
                <a:cubicBezTo>
                  <a:pt x="39115" y="68198"/>
                  <a:pt x="44958" y="64516"/>
                  <a:pt x="49529" y="58166"/>
                </a:cubicBezTo>
                <a:cubicBezTo>
                  <a:pt x="53975" y="51816"/>
                  <a:pt x="55626" y="44195"/>
                  <a:pt x="54483" y="35178"/>
                </a:cubicBezTo>
                <a:cubicBezTo>
                  <a:pt x="53594" y="29083"/>
                  <a:pt x="51561" y="23494"/>
                  <a:pt x="48386" y="18541"/>
                </a:cubicBezTo>
                <a:cubicBezTo>
                  <a:pt x="45084" y="13588"/>
                  <a:pt x="41021" y="10159"/>
                  <a:pt x="36067" y="8127"/>
                </a:cubicBezTo>
                <a:cubicBezTo>
                  <a:pt x="31115" y="6095"/>
                  <a:pt x="25653" y="5588"/>
                  <a:pt x="19811" y="6350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02" name="Freeform 3"/>
          <p:cNvSpPr/>
          <p:nvPr/>
        </p:nvSpPr>
        <p:spPr>
          <a:xfrm>
            <a:off x="3587438" y="1382383"/>
            <a:ext cx="123841" cy="158950"/>
          </a:xfrm>
          <a:custGeom>
            <a:avLst/>
            <a:gdLst>
              <a:gd name="connsiteX0" fmla="*/ 6350 w 126364"/>
              <a:gd name="connsiteY0" fmla="*/ 13588 h 162179"/>
              <a:gd name="connsiteX1" fmla="*/ 58419 w 126364"/>
              <a:gd name="connsiteY1" fmla="*/ 6477 h 162179"/>
              <a:gd name="connsiteX2" fmla="*/ 89153 w 126364"/>
              <a:gd name="connsiteY2" fmla="*/ 6350 h 162179"/>
              <a:gd name="connsiteX3" fmla="*/ 109473 w 126364"/>
              <a:gd name="connsiteY3" fmla="*/ 17145 h 162179"/>
              <a:gd name="connsiteX4" fmla="*/ 120014 w 126364"/>
              <a:gd name="connsiteY4" fmla="*/ 38227 h 162179"/>
              <a:gd name="connsiteX5" fmla="*/ 112394 w 126364"/>
              <a:gd name="connsiteY5" fmla="*/ 68072 h 162179"/>
              <a:gd name="connsiteX6" fmla="*/ 81407 w 126364"/>
              <a:gd name="connsiteY6" fmla="*/ 83438 h 162179"/>
              <a:gd name="connsiteX7" fmla="*/ 70103 w 126364"/>
              <a:gd name="connsiteY7" fmla="*/ 84201 h 162179"/>
              <a:gd name="connsiteX8" fmla="*/ 57022 w 126364"/>
              <a:gd name="connsiteY8" fmla="*/ 83693 h 162179"/>
              <a:gd name="connsiteX9" fmla="*/ 62610 w 126364"/>
              <a:gd name="connsiteY9" fmla="*/ 125222 h 162179"/>
              <a:gd name="connsiteX10" fmla="*/ 67817 w 126364"/>
              <a:gd name="connsiteY10" fmla="*/ 141477 h 162179"/>
              <a:gd name="connsiteX11" fmla="*/ 80517 w 126364"/>
              <a:gd name="connsiteY11" fmla="*/ 144399 h 162179"/>
              <a:gd name="connsiteX12" fmla="*/ 85978 w 126364"/>
              <a:gd name="connsiteY12" fmla="*/ 143763 h 162179"/>
              <a:gd name="connsiteX13" fmla="*/ 86486 w 126364"/>
              <a:gd name="connsiteY13" fmla="*/ 147574 h 162179"/>
              <a:gd name="connsiteX14" fmla="*/ 25526 w 126364"/>
              <a:gd name="connsiteY14" fmla="*/ 155829 h 162179"/>
              <a:gd name="connsiteX15" fmla="*/ 25019 w 126364"/>
              <a:gd name="connsiteY15" fmla="*/ 152019 h 162179"/>
              <a:gd name="connsiteX16" fmla="*/ 30352 w 126364"/>
              <a:gd name="connsiteY16" fmla="*/ 151257 h 162179"/>
              <a:gd name="connsiteX17" fmla="*/ 42544 w 126364"/>
              <a:gd name="connsiteY17" fmla="*/ 143637 h 162179"/>
              <a:gd name="connsiteX18" fmla="*/ 42544 w 126364"/>
              <a:gd name="connsiteY18" fmla="*/ 127888 h 162179"/>
              <a:gd name="connsiteX19" fmla="*/ 30098 w 126364"/>
              <a:gd name="connsiteY19" fmla="*/ 35941 h 162179"/>
              <a:gd name="connsiteX20" fmla="*/ 25019 w 126364"/>
              <a:gd name="connsiteY20" fmla="*/ 19685 h 162179"/>
              <a:gd name="connsiteX21" fmla="*/ 12191 w 126364"/>
              <a:gd name="connsiteY21" fmla="*/ 16763 h 162179"/>
              <a:gd name="connsiteX22" fmla="*/ 6857 w 126364"/>
              <a:gd name="connsiteY22" fmla="*/ 17399 h 162179"/>
              <a:gd name="connsiteX23" fmla="*/ 6350 w 126364"/>
              <a:gd name="connsiteY23" fmla="*/ 13588 h 16217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</a:cxnLst>
            <a:rect l="l" t="t" r="r" b="b"/>
            <a:pathLst>
              <a:path w="126364" h="162179">
                <a:moveTo>
                  <a:pt x="6350" y="13588"/>
                </a:moveTo>
                <a:lnTo>
                  <a:pt x="58419" y="6477"/>
                </a:lnTo>
                <a:cubicBezTo>
                  <a:pt x="71246" y="4826"/>
                  <a:pt x="81407" y="4699"/>
                  <a:pt x="89153" y="6350"/>
                </a:cubicBezTo>
                <a:cubicBezTo>
                  <a:pt x="96773" y="8001"/>
                  <a:pt x="103632" y="11557"/>
                  <a:pt x="109473" y="17145"/>
                </a:cubicBezTo>
                <a:cubicBezTo>
                  <a:pt x="115315" y="22733"/>
                  <a:pt x="118871" y="29718"/>
                  <a:pt x="120014" y="38227"/>
                </a:cubicBezTo>
                <a:cubicBezTo>
                  <a:pt x="121538" y="49911"/>
                  <a:pt x="118998" y="59816"/>
                  <a:pt x="112394" y="68072"/>
                </a:cubicBezTo>
                <a:cubicBezTo>
                  <a:pt x="105663" y="76454"/>
                  <a:pt x="95376" y="81534"/>
                  <a:pt x="81407" y="83438"/>
                </a:cubicBezTo>
                <a:cubicBezTo>
                  <a:pt x="77977" y="83947"/>
                  <a:pt x="74167" y="84201"/>
                  <a:pt x="70103" y="84201"/>
                </a:cubicBezTo>
                <a:cubicBezTo>
                  <a:pt x="66039" y="84201"/>
                  <a:pt x="61721" y="84074"/>
                  <a:pt x="57022" y="83693"/>
                </a:cubicBezTo>
                <a:lnTo>
                  <a:pt x="62610" y="125222"/>
                </a:lnTo>
                <a:cubicBezTo>
                  <a:pt x="63880" y="134112"/>
                  <a:pt x="65658" y="139573"/>
                  <a:pt x="67817" y="141477"/>
                </a:cubicBezTo>
                <a:cubicBezTo>
                  <a:pt x="70992" y="144145"/>
                  <a:pt x="75183" y="145161"/>
                  <a:pt x="80517" y="144399"/>
                </a:cubicBezTo>
                <a:lnTo>
                  <a:pt x="85978" y="143763"/>
                </a:lnTo>
                <a:lnTo>
                  <a:pt x="86486" y="147574"/>
                </a:lnTo>
                <a:lnTo>
                  <a:pt x="25526" y="155829"/>
                </a:lnTo>
                <a:lnTo>
                  <a:pt x="25019" y="152019"/>
                </a:lnTo>
                <a:lnTo>
                  <a:pt x="30352" y="151257"/>
                </a:lnTo>
                <a:cubicBezTo>
                  <a:pt x="36448" y="150368"/>
                  <a:pt x="40513" y="147827"/>
                  <a:pt x="42544" y="143637"/>
                </a:cubicBezTo>
                <a:cubicBezTo>
                  <a:pt x="43560" y="141224"/>
                  <a:pt x="43560" y="136016"/>
                  <a:pt x="42544" y="127888"/>
                </a:cubicBezTo>
                <a:lnTo>
                  <a:pt x="30098" y="35941"/>
                </a:lnTo>
                <a:cubicBezTo>
                  <a:pt x="28828" y="27051"/>
                  <a:pt x="27177" y="21590"/>
                  <a:pt x="25019" y="19685"/>
                </a:cubicBezTo>
                <a:cubicBezTo>
                  <a:pt x="21844" y="17018"/>
                  <a:pt x="17525" y="16002"/>
                  <a:pt x="12191" y="16763"/>
                </a:cubicBezTo>
                <a:lnTo>
                  <a:pt x="6857" y="17399"/>
                </a:lnTo>
                <a:lnTo>
                  <a:pt x="6350" y="13588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03" name="Freeform 3"/>
          <p:cNvSpPr/>
          <p:nvPr/>
        </p:nvSpPr>
        <p:spPr>
          <a:xfrm>
            <a:off x="3707671" y="1360973"/>
            <a:ext cx="144129" cy="164552"/>
          </a:xfrm>
          <a:custGeom>
            <a:avLst/>
            <a:gdLst>
              <a:gd name="connsiteX0" fmla="*/ 6350 w 147065"/>
              <a:gd name="connsiteY0" fmla="*/ 18923 h 167894"/>
              <a:gd name="connsiteX1" fmla="*/ 116331 w 147065"/>
              <a:gd name="connsiteY1" fmla="*/ 6350 h 167894"/>
              <a:gd name="connsiteX2" fmla="*/ 121411 w 147065"/>
              <a:gd name="connsiteY2" fmla="*/ 37465 h 167894"/>
              <a:gd name="connsiteX3" fmla="*/ 117347 w 147065"/>
              <a:gd name="connsiteY3" fmla="*/ 37973 h 167894"/>
              <a:gd name="connsiteX4" fmla="*/ 110616 w 147065"/>
              <a:gd name="connsiteY4" fmla="*/ 22987 h 167894"/>
              <a:gd name="connsiteX5" fmla="*/ 101980 w 147065"/>
              <a:gd name="connsiteY5" fmla="*/ 17526 h 167894"/>
              <a:gd name="connsiteX6" fmla="*/ 86994 w 147065"/>
              <a:gd name="connsiteY6" fmla="*/ 17653 h 167894"/>
              <a:gd name="connsiteX7" fmla="*/ 47878 w 147065"/>
              <a:gd name="connsiteY7" fmla="*/ 22098 h 167894"/>
              <a:gd name="connsiteX8" fmla="*/ 54228 w 147065"/>
              <a:gd name="connsiteY8" fmla="*/ 78486 h 167894"/>
              <a:gd name="connsiteX9" fmla="*/ 85597 w 147065"/>
              <a:gd name="connsiteY9" fmla="*/ 74930 h 167894"/>
              <a:gd name="connsiteX10" fmla="*/ 101472 w 147065"/>
              <a:gd name="connsiteY10" fmla="*/ 69342 h 167894"/>
              <a:gd name="connsiteX11" fmla="*/ 105663 w 147065"/>
              <a:gd name="connsiteY11" fmla="*/ 51562 h 167894"/>
              <a:gd name="connsiteX12" fmla="*/ 109600 w 147065"/>
              <a:gd name="connsiteY12" fmla="*/ 51181 h 167894"/>
              <a:gd name="connsiteX13" fmla="*/ 115188 w 147065"/>
              <a:gd name="connsiteY13" fmla="*/ 100838 h 167894"/>
              <a:gd name="connsiteX14" fmla="*/ 111251 w 147065"/>
              <a:gd name="connsiteY14" fmla="*/ 101219 h 167894"/>
              <a:gd name="connsiteX15" fmla="*/ 106806 w 147065"/>
              <a:gd name="connsiteY15" fmla="*/ 88265 h 167894"/>
              <a:gd name="connsiteX16" fmla="*/ 99948 w 147065"/>
              <a:gd name="connsiteY16" fmla="*/ 83185 h 167894"/>
              <a:gd name="connsiteX17" fmla="*/ 86486 w 147065"/>
              <a:gd name="connsiteY17" fmla="*/ 82550 h 167894"/>
              <a:gd name="connsiteX18" fmla="*/ 55117 w 147065"/>
              <a:gd name="connsiteY18" fmla="*/ 86106 h 167894"/>
              <a:gd name="connsiteX19" fmla="*/ 60451 w 147065"/>
              <a:gd name="connsiteY19" fmla="*/ 133096 h 167894"/>
              <a:gd name="connsiteX20" fmla="*/ 62610 w 147065"/>
              <a:gd name="connsiteY20" fmla="*/ 144526 h 167894"/>
              <a:gd name="connsiteX21" fmla="*/ 65912 w 147065"/>
              <a:gd name="connsiteY21" fmla="*/ 147447 h 167894"/>
              <a:gd name="connsiteX22" fmla="*/ 74040 w 147065"/>
              <a:gd name="connsiteY22" fmla="*/ 147828 h 167894"/>
              <a:gd name="connsiteX23" fmla="*/ 98297 w 147065"/>
              <a:gd name="connsiteY23" fmla="*/ 145034 h 167894"/>
              <a:gd name="connsiteX24" fmla="*/ 115569 w 147065"/>
              <a:gd name="connsiteY24" fmla="*/ 141351 h 167894"/>
              <a:gd name="connsiteX25" fmla="*/ 125348 w 147065"/>
              <a:gd name="connsiteY25" fmla="*/ 133604 h 167894"/>
              <a:gd name="connsiteX26" fmla="*/ 136525 w 147065"/>
              <a:gd name="connsiteY26" fmla="*/ 112395 h 167894"/>
              <a:gd name="connsiteX27" fmla="*/ 140715 w 147065"/>
              <a:gd name="connsiteY27" fmla="*/ 111887 h 167894"/>
              <a:gd name="connsiteX28" fmla="*/ 132460 w 147065"/>
              <a:gd name="connsiteY28" fmla="*/ 149098 h 167894"/>
              <a:gd name="connsiteX29" fmla="*/ 22478 w 147065"/>
              <a:gd name="connsiteY29" fmla="*/ 161544 h 167894"/>
              <a:gd name="connsiteX30" fmla="*/ 22097 w 147065"/>
              <a:gd name="connsiteY30" fmla="*/ 157607 h 167894"/>
              <a:gd name="connsiteX31" fmla="*/ 27177 w 147065"/>
              <a:gd name="connsiteY31" fmla="*/ 157099 h 167894"/>
              <a:gd name="connsiteX32" fmla="*/ 36448 w 147065"/>
              <a:gd name="connsiteY32" fmla="*/ 153543 h 167894"/>
              <a:gd name="connsiteX33" fmla="*/ 40385 w 147065"/>
              <a:gd name="connsiteY33" fmla="*/ 147955 h 167894"/>
              <a:gd name="connsiteX34" fmla="*/ 40131 w 147065"/>
              <a:gd name="connsiteY34" fmla="*/ 134112 h 167894"/>
              <a:gd name="connsiteX35" fmla="*/ 29590 w 147065"/>
              <a:gd name="connsiteY35" fmla="*/ 41402 h 167894"/>
              <a:gd name="connsiteX36" fmla="*/ 24891 w 147065"/>
              <a:gd name="connsiteY36" fmla="*/ 25019 h 167894"/>
              <a:gd name="connsiteX37" fmla="*/ 11810 w 147065"/>
              <a:gd name="connsiteY37" fmla="*/ 22225 h 167894"/>
              <a:gd name="connsiteX38" fmla="*/ 6857 w 147065"/>
              <a:gd name="connsiteY38" fmla="*/ 22733 h 167894"/>
              <a:gd name="connsiteX39" fmla="*/ 6350 w 147065"/>
              <a:gd name="connsiteY39" fmla="*/ 18923 h 16789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  <a:cxn ang="36">
                <a:pos x="connsiteX36" y="connsiteY36"/>
              </a:cxn>
              <a:cxn ang="37">
                <a:pos x="connsiteX37" y="connsiteY37"/>
              </a:cxn>
              <a:cxn ang="38">
                <a:pos x="connsiteX38" y="connsiteY38"/>
              </a:cxn>
              <a:cxn ang="39">
                <a:pos x="connsiteX39" y="connsiteY39"/>
              </a:cxn>
            </a:cxnLst>
            <a:rect l="l" t="t" r="r" b="b"/>
            <a:pathLst>
              <a:path w="147065" h="167894">
                <a:moveTo>
                  <a:pt x="6350" y="18923"/>
                </a:moveTo>
                <a:lnTo>
                  <a:pt x="116331" y="6350"/>
                </a:lnTo>
                <a:lnTo>
                  <a:pt x="121411" y="37465"/>
                </a:lnTo>
                <a:lnTo>
                  <a:pt x="117347" y="37973"/>
                </a:lnTo>
                <a:cubicBezTo>
                  <a:pt x="114934" y="30607"/>
                  <a:pt x="112775" y="25654"/>
                  <a:pt x="110616" y="22987"/>
                </a:cubicBezTo>
                <a:cubicBezTo>
                  <a:pt x="108584" y="20447"/>
                  <a:pt x="105663" y="18542"/>
                  <a:pt x="101980" y="17526"/>
                </a:cubicBezTo>
                <a:cubicBezTo>
                  <a:pt x="99059" y="16764"/>
                  <a:pt x="94106" y="16764"/>
                  <a:pt x="86994" y="17653"/>
                </a:cubicBezTo>
                <a:lnTo>
                  <a:pt x="47878" y="22098"/>
                </a:lnTo>
                <a:lnTo>
                  <a:pt x="54228" y="78486"/>
                </a:lnTo>
                <a:lnTo>
                  <a:pt x="85597" y="74930"/>
                </a:lnTo>
                <a:cubicBezTo>
                  <a:pt x="93725" y="73914"/>
                  <a:pt x="99059" y="72136"/>
                  <a:pt x="101472" y="69342"/>
                </a:cubicBezTo>
                <a:cubicBezTo>
                  <a:pt x="104775" y="65659"/>
                  <a:pt x="106171" y="59817"/>
                  <a:pt x="105663" y="51562"/>
                </a:cubicBezTo>
                <a:lnTo>
                  <a:pt x="109600" y="51181"/>
                </a:lnTo>
                <a:lnTo>
                  <a:pt x="115188" y="100838"/>
                </a:lnTo>
                <a:lnTo>
                  <a:pt x="111251" y="101219"/>
                </a:lnTo>
                <a:cubicBezTo>
                  <a:pt x="109473" y="94488"/>
                  <a:pt x="108076" y="90043"/>
                  <a:pt x="106806" y="88265"/>
                </a:cubicBezTo>
                <a:cubicBezTo>
                  <a:pt x="105282" y="85979"/>
                  <a:pt x="102996" y="84201"/>
                  <a:pt x="99948" y="83185"/>
                </a:cubicBezTo>
                <a:cubicBezTo>
                  <a:pt x="96900" y="82042"/>
                  <a:pt x="92455" y="81915"/>
                  <a:pt x="86486" y="82550"/>
                </a:cubicBezTo>
                <a:lnTo>
                  <a:pt x="55117" y="86106"/>
                </a:lnTo>
                <a:lnTo>
                  <a:pt x="60451" y="133096"/>
                </a:lnTo>
                <a:cubicBezTo>
                  <a:pt x="61213" y="139446"/>
                  <a:pt x="61848" y="143256"/>
                  <a:pt x="62610" y="144526"/>
                </a:cubicBezTo>
                <a:cubicBezTo>
                  <a:pt x="63372" y="145923"/>
                  <a:pt x="64388" y="146812"/>
                  <a:pt x="65912" y="147447"/>
                </a:cubicBezTo>
                <a:cubicBezTo>
                  <a:pt x="67436" y="148082"/>
                  <a:pt x="70103" y="148209"/>
                  <a:pt x="74040" y="147828"/>
                </a:cubicBezTo>
                <a:lnTo>
                  <a:pt x="98297" y="145034"/>
                </a:lnTo>
                <a:cubicBezTo>
                  <a:pt x="106298" y="144145"/>
                  <a:pt x="112140" y="142875"/>
                  <a:pt x="115569" y="141351"/>
                </a:cubicBezTo>
                <a:cubicBezTo>
                  <a:pt x="119125" y="139827"/>
                  <a:pt x="122427" y="137287"/>
                  <a:pt x="125348" y="133604"/>
                </a:cubicBezTo>
                <a:cubicBezTo>
                  <a:pt x="129285" y="128651"/>
                  <a:pt x="132968" y="121666"/>
                  <a:pt x="136525" y="112395"/>
                </a:cubicBezTo>
                <a:lnTo>
                  <a:pt x="140715" y="111887"/>
                </a:lnTo>
                <a:lnTo>
                  <a:pt x="132460" y="149098"/>
                </a:lnTo>
                <a:lnTo>
                  <a:pt x="22478" y="161544"/>
                </a:lnTo>
                <a:lnTo>
                  <a:pt x="22097" y="157607"/>
                </a:lnTo>
                <a:lnTo>
                  <a:pt x="27177" y="157099"/>
                </a:lnTo>
                <a:cubicBezTo>
                  <a:pt x="30479" y="156718"/>
                  <a:pt x="33654" y="155448"/>
                  <a:pt x="36448" y="153543"/>
                </a:cubicBezTo>
                <a:cubicBezTo>
                  <a:pt x="38607" y="152146"/>
                  <a:pt x="39877" y="150368"/>
                  <a:pt x="40385" y="147955"/>
                </a:cubicBezTo>
                <a:cubicBezTo>
                  <a:pt x="41020" y="145669"/>
                  <a:pt x="40893" y="140970"/>
                  <a:pt x="40131" y="134112"/>
                </a:cubicBezTo>
                <a:lnTo>
                  <a:pt x="29590" y="41402"/>
                </a:lnTo>
                <a:cubicBezTo>
                  <a:pt x="28575" y="32385"/>
                  <a:pt x="27050" y="26924"/>
                  <a:pt x="24891" y="25019"/>
                </a:cubicBezTo>
                <a:cubicBezTo>
                  <a:pt x="22097" y="22479"/>
                  <a:pt x="17779" y="21463"/>
                  <a:pt x="11810" y="22225"/>
                </a:cubicBezTo>
                <a:lnTo>
                  <a:pt x="6857" y="22733"/>
                </a:lnTo>
                <a:lnTo>
                  <a:pt x="6350" y="18923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04" name="Freeform 3"/>
          <p:cNvSpPr/>
          <p:nvPr/>
        </p:nvSpPr>
        <p:spPr>
          <a:xfrm>
            <a:off x="3838358" y="1348029"/>
            <a:ext cx="128447" cy="163181"/>
          </a:xfrm>
          <a:custGeom>
            <a:avLst/>
            <a:gdLst>
              <a:gd name="connsiteX0" fmla="*/ 6350 w 131064"/>
              <a:gd name="connsiteY0" fmla="*/ 17144 h 166496"/>
              <a:gd name="connsiteX1" fmla="*/ 121030 w 131064"/>
              <a:gd name="connsiteY1" fmla="*/ 6350 h 166496"/>
              <a:gd name="connsiteX2" fmla="*/ 124713 w 131064"/>
              <a:gd name="connsiteY2" fmla="*/ 39750 h 166496"/>
              <a:gd name="connsiteX3" fmla="*/ 120522 w 131064"/>
              <a:gd name="connsiteY3" fmla="*/ 40131 h 166496"/>
              <a:gd name="connsiteX4" fmla="*/ 114680 w 131064"/>
              <a:gd name="connsiteY4" fmla="*/ 24256 h 166496"/>
              <a:gd name="connsiteX5" fmla="*/ 104393 w 131064"/>
              <a:gd name="connsiteY5" fmla="*/ 17398 h 166496"/>
              <a:gd name="connsiteX6" fmla="*/ 88010 w 131064"/>
              <a:gd name="connsiteY6" fmla="*/ 17398 h 166496"/>
              <a:gd name="connsiteX7" fmla="*/ 47878 w 131064"/>
              <a:gd name="connsiteY7" fmla="*/ 21081 h 166496"/>
              <a:gd name="connsiteX8" fmla="*/ 58165 w 131064"/>
              <a:gd name="connsiteY8" fmla="*/ 130175 h 166496"/>
              <a:gd name="connsiteX9" fmla="*/ 63500 w 131064"/>
              <a:gd name="connsiteY9" fmla="*/ 147827 h 166496"/>
              <a:gd name="connsiteX10" fmla="*/ 80644 w 131064"/>
              <a:gd name="connsiteY10" fmla="*/ 150494 h 166496"/>
              <a:gd name="connsiteX11" fmla="*/ 81025 w 131064"/>
              <a:gd name="connsiteY11" fmla="*/ 154304 h 166496"/>
              <a:gd name="connsiteX12" fmla="*/ 19684 w 131064"/>
              <a:gd name="connsiteY12" fmla="*/ 160147 h 166496"/>
              <a:gd name="connsiteX13" fmla="*/ 19303 w 131064"/>
              <a:gd name="connsiteY13" fmla="*/ 156209 h 166496"/>
              <a:gd name="connsiteX14" fmla="*/ 35940 w 131064"/>
              <a:gd name="connsiteY14" fmla="*/ 150367 h 166496"/>
              <a:gd name="connsiteX15" fmla="*/ 37972 w 131064"/>
              <a:gd name="connsiteY15" fmla="*/ 132079 h 166496"/>
              <a:gd name="connsiteX16" fmla="*/ 29463 w 131064"/>
              <a:gd name="connsiteY16" fmla="*/ 41275 h 166496"/>
              <a:gd name="connsiteX17" fmla="*/ 24002 w 131064"/>
              <a:gd name="connsiteY17" fmla="*/ 23622 h 166496"/>
              <a:gd name="connsiteX18" fmla="*/ 6730 w 131064"/>
              <a:gd name="connsiteY18" fmla="*/ 21081 h 166496"/>
              <a:gd name="connsiteX19" fmla="*/ 6350 w 131064"/>
              <a:gd name="connsiteY19" fmla="*/ 17144 h 16649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</a:cxnLst>
            <a:rect l="l" t="t" r="r" b="b"/>
            <a:pathLst>
              <a:path w="131064" h="166496">
                <a:moveTo>
                  <a:pt x="6350" y="17144"/>
                </a:moveTo>
                <a:lnTo>
                  <a:pt x="121030" y="6350"/>
                </a:lnTo>
                <a:lnTo>
                  <a:pt x="124713" y="39750"/>
                </a:lnTo>
                <a:lnTo>
                  <a:pt x="120522" y="40131"/>
                </a:lnTo>
                <a:cubicBezTo>
                  <a:pt x="119633" y="33400"/>
                  <a:pt x="117728" y="28193"/>
                  <a:pt x="114680" y="24256"/>
                </a:cubicBezTo>
                <a:cubicBezTo>
                  <a:pt x="111759" y="20447"/>
                  <a:pt x="108330" y="18161"/>
                  <a:pt x="104393" y="17398"/>
                </a:cubicBezTo>
                <a:cubicBezTo>
                  <a:pt x="100583" y="16763"/>
                  <a:pt x="95122" y="16636"/>
                  <a:pt x="88010" y="17398"/>
                </a:cubicBezTo>
                <a:lnTo>
                  <a:pt x="47878" y="21081"/>
                </a:lnTo>
                <a:lnTo>
                  <a:pt x="58165" y="130175"/>
                </a:lnTo>
                <a:cubicBezTo>
                  <a:pt x="59054" y="139572"/>
                  <a:pt x="60832" y="145541"/>
                  <a:pt x="63500" y="147827"/>
                </a:cubicBezTo>
                <a:cubicBezTo>
                  <a:pt x="66166" y="150113"/>
                  <a:pt x="71881" y="151002"/>
                  <a:pt x="80644" y="150494"/>
                </a:cubicBezTo>
                <a:lnTo>
                  <a:pt x="81025" y="154304"/>
                </a:lnTo>
                <a:lnTo>
                  <a:pt x="19684" y="160147"/>
                </a:lnTo>
                <a:lnTo>
                  <a:pt x="19303" y="156209"/>
                </a:lnTo>
                <a:cubicBezTo>
                  <a:pt x="28193" y="155066"/>
                  <a:pt x="33654" y="153161"/>
                  <a:pt x="35940" y="150367"/>
                </a:cubicBezTo>
                <a:cubicBezTo>
                  <a:pt x="38100" y="147573"/>
                  <a:pt x="38861" y="141477"/>
                  <a:pt x="37972" y="132079"/>
                </a:cubicBezTo>
                <a:lnTo>
                  <a:pt x="29463" y="41275"/>
                </a:lnTo>
                <a:cubicBezTo>
                  <a:pt x="28575" y="31876"/>
                  <a:pt x="26796" y="26034"/>
                  <a:pt x="24002" y="23622"/>
                </a:cubicBezTo>
                <a:cubicBezTo>
                  <a:pt x="21335" y="21336"/>
                  <a:pt x="15493" y="20447"/>
                  <a:pt x="6730" y="21081"/>
                </a:cubicBezTo>
                <a:lnTo>
                  <a:pt x="6350" y="1714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05" name="Freeform 3"/>
          <p:cNvSpPr/>
          <p:nvPr/>
        </p:nvSpPr>
        <p:spPr>
          <a:xfrm>
            <a:off x="3954235" y="1338196"/>
            <a:ext cx="151099" cy="163555"/>
          </a:xfrm>
          <a:custGeom>
            <a:avLst/>
            <a:gdLst>
              <a:gd name="connsiteX0" fmla="*/ 22097 w 154177"/>
              <a:gd name="connsiteY0" fmla="*/ 14986 h 166877"/>
              <a:gd name="connsiteX1" fmla="*/ 137286 w 154177"/>
              <a:gd name="connsiteY1" fmla="*/ 6350 h 166877"/>
              <a:gd name="connsiteX2" fmla="*/ 137540 w 154177"/>
              <a:gd name="connsiteY2" fmla="*/ 10286 h 166877"/>
              <a:gd name="connsiteX3" fmla="*/ 120776 w 154177"/>
              <a:gd name="connsiteY3" fmla="*/ 15747 h 166877"/>
              <a:gd name="connsiteX4" fmla="*/ 118490 w 154177"/>
              <a:gd name="connsiteY4" fmla="*/ 34036 h 166877"/>
              <a:gd name="connsiteX5" fmla="*/ 125221 w 154177"/>
              <a:gd name="connsiteY5" fmla="*/ 124967 h 166877"/>
              <a:gd name="connsiteX6" fmla="*/ 130301 w 154177"/>
              <a:gd name="connsiteY6" fmla="*/ 142747 h 166877"/>
              <a:gd name="connsiteX7" fmla="*/ 147573 w 154177"/>
              <a:gd name="connsiteY7" fmla="*/ 145669 h 166877"/>
              <a:gd name="connsiteX8" fmla="*/ 147827 w 154177"/>
              <a:gd name="connsiteY8" fmla="*/ 149605 h 166877"/>
              <a:gd name="connsiteX9" fmla="*/ 86359 w 154177"/>
              <a:gd name="connsiteY9" fmla="*/ 154177 h 166877"/>
              <a:gd name="connsiteX10" fmla="*/ 85978 w 154177"/>
              <a:gd name="connsiteY10" fmla="*/ 150240 h 166877"/>
              <a:gd name="connsiteX11" fmla="*/ 102742 w 154177"/>
              <a:gd name="connsiteY11" fmla="*/ 144780 h 166877"/>
              <a:gd name="connsiteX12" fmla="*/ 105028 w 154177"/>
              <a:gd name="connsiteY12" fmla="*/ 126491 h 166877"/>
              <a:gd name="connsiteX13" fmla="*/ 96900 w 154177"/>
              <a:gd name="connsiteY13" fmla="*/ 17272 h 166877"/>
              <a:gd name="connsiteX14" fmla="*/ 52577 w 154177"/>
              <a:gd name="connsiteY14" fmla="*/ 20573 h 166877"/>
              <a:gd name="connsiteX15" fmla="*/ 55625 w 154177"/>
              <a:gd name="connsiteY15" fmla="*/ 60705 h 166877"/>
              <a:gd name="connsiteX16" fmla="*/ 51053 w 154177"/>
              <a:gd name="connsiteY16" fmla="*/ 140208 h 166877"/>
              <a:gd name="connsiteX17" fmla="*/ 23494 w 154177"/>
              <a:gd name="connsiteY17" fmla="*/ 160527 h 166877"/>
              <a:gd name="connsiteX18" fmla="*/ 11175 w 154177"/>
              <a:gd name="connsiteY18" fmla="*/ 157606 h 166877"/>
              <a:gd name="connsiteX19" fmla="*/ 6350 w 154177"/>
              <a:gd name="connsiteY19" fmla="*/ 148970 h 166877"/>
              <a:gd name="connsiteX20" fmla="*/ 8508 w 154177"/>
              <a:gd name="connsiteY20" fmla="*/ 141986 h 166877"/>
              <a:gd name="connsiteX21" fmla="*/ 14985 w 154177"/>
              <a:gd name="connsiteY21" fmla="*/ 138683 h 166877"/>
              <a:gd name="connsiteX22" fmla="*/ 22732 w 154177"/>
              <a:gd name="connsiteY22" fmla="*/ 141223 h 166877"/>
              <a:gd name="connsiteX23" fmla="*/ 31495 w 154177"/>
              <a:gd name="connsiteY23" fmla="*/ 144144 h 166877"/>
              <a:gd name="connsiteX24" fmla="*/ 45338 w 154177"/>
              <a:gd name="connsiteY24" fmla="*/ 127761 h 166877"/>
              <a:gd name="connsiteX25" fmla="*/ 46863 w 154177"/>
              <a:gd name="connsiteY25" fmla="*/ 69469 h 166877"/>
              <a:gd name="connsiteX26" fmla="*/ 44703 w 154177"/>
              <a:gd name="connsiteY26" fmla="*/ 39497 h 166877"/>
              <a:gd name="connsiteX27" fmla="*/ 39623 w 154177"/>
              <a:gd name="connsiteY27" fmla="*/ 21844 h 166877"/>
              <a:gd name="connsiteX28" fmla="*/ 22351 w 154177"/>
              <a:gd name="connsiteY28" fmla="*/ 18922 h 166877"/>
              <a:gd name="connsiteX29" fmla="*/ 22097 w 154177"/>
              <a:gd name="connsiteY29" fmla="*/ 14986 h 16687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</a:cxnLst>
            <a:rect l="l" t="t" r="r" b="b"/>
            <a:pathLst>
              <a:path w="154177" h="166877">
                <a:moveTo>
                  <a:pt x="22097" y="14986"/>
                </a:moveTo>
                <a:lnTo>
                  <a:pt x="137286" y="6350"/>
                </a:lnTo>
                <a:lnTo>
                  <a:pt x="137540" y="10286"/>
                </a:lnTo>
                <a:cubicBezTo>
                  <a:pt x="128650" y="11175"/>
                  <a:pt x="123063" y="13080"/>
                  <a:pt x="120776" y="15747"/>
                </a:cubicBezTo>
                <a:cubicBezTo>
                  <a:pt x="118617" y="18541"/>
                  <a:pt x="117728" y="24637"/>
                  <a:pt x="118490" y="34036"/>
                </a:cubicBezTo>
                <a:lnTo>
                  <a:pt x="125221" y="124967"/>
                </a:lnTo>
                <a:cubicBezTo>
                  <a:pt x="125983" y="134492"/>
                  <a:pt x="127634" y="140334"/>
                  <a:pt x="130301" y="142747"/>
                </a:cubicBezTo>
                <a:cubicBezTo>
                  <a:pt x="132969" y="145033"/>
                  <a:pt x="138683" y="146050"/>
                  <a:pt x="147573" y="145669"/>
                </a:cubicBezTo>
                <a:lnTo>
                  <a:pt x="147827" y="149605"/>
                </a:lnTo>
                <a:lnTo>
                  <a:pt x="86359" y="154177"/>
                </a:lnTo>
                <a:lnTo>
                  <a:pt x="85978" y="150240"/>
                </a:lnTo>
                <a:cubicBezTo>
                  <a:pt x="94869" y="149351"/>
                  <a:pt x="100456" y="147447"/>
                  <a:pt x="102742" y="144780"/>
                </a:cubicBezTo>
                <a:cubicBezTo>
                  <a:pt x="105028" y="141986"/>
                  <a:pt x="105790" y="135889"/>
                  <a:pt x="105028" y="126491"/>
                </a:cubicBezTo>
                <a:lnTo>
                  <a:pt x="96900" y="17272"/>
                </a:lnTo>
                <a:lnTo>
                  <a:pt x="52577" y="20573"/>
                </a:lnTo>
                <a:lnTo>
                  <a:pt x="55625" y="60705"/>
                </a:lnTo>
                <a:cubicBezTo>
                  <a:pt x="58546" y="101091"/>
                  <a:pt x="57022" y="127634"/>
                  <a:pt x="51053" y="140208"/>
                </a:cubicBezTo>
                <a:cubicBezTo>
                  <a:pt x="44957" y="152908"/>
                  <a:pt x="35813" y="159638"/>
                  <a:pt x="23494" y="160527"/>
                </a:cubicBezTo>
                <a:cubicBezTo>
                  <a:pt x="18288" y="160908"/>
                  <a:pt x="14223" y="159892"/>
                  <a:pt x="11175" y="157606"/>
                </a:cubicBezTo>
                <a:cubicBezTo>
                  <a:pt x="8254" y="155194"/>
                  <a:pt x="6603" y="152272"/>
                  <a:pt x="6350" y="148970"/>
                </a:cubicBezTo>
                <a:cubicBezTo>
                  <a:pt x="6095" y="146303"/>
                  <a:pt x="6857" y="144017"/>
                  <a:pt x="8508" y="141986"/>
                </a:cubicBezTo>
                <a:cubicBezTo>
                  <a:pt x="10286" y="139953"/>
                  <a:pt x="12445" y="138811"/>
                  <a:pt x="14985" y="138683"/>
                </a:cubicBezTo>
                <a:cubicBezTo>
                  <a:pt x="17144" y="138430"/>
                  <a:pt x="19811" y="139319"/>
                  <a:pt x="22732" y="141223"/>
                </a:cubicBezTo>
                <a:cubicBezTo>
                  <a:pt x="26034" y="143383"/>
                  <a:pt x="28955" y="144272"/>
                  <a:pt x="31495" y="144144"/>
                </a:cubicBezTo>
                <a:cubicBezTo>
                  <a:pt x="37719" y="143636"/>
                  <a:pt x="42290" y="138175"/>
                  <a:pt x="45338" y="127761"/>
                </a:cubicBezTo>
                <a:cubicBezTo>
                  <a:pt x="48513" y="117220"/>
                  <a:pt x="49021" y="97789"/>
                  <a:pt x="46863" y="69469"/>
                </a:cubicBezTo>
                <a:lnTo>
                  <a:pt x="44703" y="39497"/>
                </a:lnTo>
                <a:cubicBezTo>
                  <a:pt x="43941" y="30098"/>
                  <a:pt x="42290" y="24130"/>
                  <a:pt x="39623" y="21844"/>
                </a:cubicBezTo>
                <a:cubicBezTo>
                  <a:pt x="36956" y="19430"/>
                  <a:pt x="31241" y="18541"/>
                  <a:pt x="22351" y="18922"/>
                </a:cubicBezTo>
                <a:lnTo>
                  <a:pt x="22097" y="14986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06" name="Freeform 3"/>
          <p:cNvSpPr/>
          <p:nvPr/>
        </p:nvSpPr>
        <p:spPr>
          <a:xfrm>
            <a:off x="4138814" y="1363091"/>
            <a:ext cx="60739" cy="70450"/>
          </a:xfrm>
          <a:custGeom>
            <a:avLst/>
            <a:gdLst>
              <a:gd name="connsiteX0" fmla="*/ 28321 w 61976"/>
              <a:gd name="connsiteY0" fmla="*/ 6350 h 71881"/>
              <a:gd name="connsiteX1" fmla="*/ 6350 w 61976"/>
              <a:gd name="connsiteY1" fmla="*/ 65531 h 71881"/>
              <a:gd name="connsiteX2" fmla="*/ 55626 w 61976"/>
              <a:gd name="connsiteY2" fmla="*/ 62991 h 71881"/>
              <a:gd name="connsiteX3" fmla="*/ 28321 w 61976"/>
              <a:gd name="connsiteY3" fmla="*/ 6350 h 7188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</a:cxnLst>
            <a:rect l="l" t="t" r="r" b="b"/>
            <a:pathLst>
              <a:path w="61976" h="71881">
                <a:moveTo>
                  <a:pt x="28321" y="6350"/>
                </a:moveTo>
                <a:lnTo>
                  <a:pt x="6350" y="65531"/>
                </a:lnTo>
                <a:lnTo>
                  <a:pt x="55626" y="62991"/>
                </a:lnTo>
                <a:lnTo>
                  <a:pt x="28321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07" name="Freeform 3"/>
          <p:cNvSpPr/>
          <p:nvPr/>
        </p:nvSpPr>
        <p:spPr>
          <a:xfrm>
            <a:off x="4097244" y="1330478"/>
            <a:ext cx="161927" cy="160195"/>
          </a:xfrm>
          <a:custGeom>
            <a:avLst/>
            <a:gdLst>
              <a:gd name="connsiteX0" fmla="*/ 72897 w 165226"/>
              <a:gd name="connsiteY0" fmla="*/ 6477 h 163449"/>
              <a:gd name="connsiteX1" fmla="*/ 76580 w 165226"/>
              <a:gd name="connsiteY1" fmla="*/ 6350 h 163449"/>
              <a:gd name="connsiteX2" fmla="*/ 132715 w 165226"/>
              <a:gd name="connsiteY2" fmla="*/ 122936 h 163449"/>
              <a:gd name="connsiteX3" fmla="*/ 144652 w 165226"/>
              <a:gd name="connsiteY3" fmla="*/ 141097 h 163449"/>
              <a:gd name="connsiteX4" fmla="*/ 158622 w 165226"/>
              <a:gd name="connsiteY4" fmla="*/ 145161 h 163449"/>
              <a:gd name="connsiteX5" fmla="*/ 158877 w 165226"/>
              <a:gd name="connsiteY5" fmla="*/ 149097 h 163449"/>
              <a:gd name="connsiteX6" fmla="*/ 102234 w 165226"/>
              <a:gd name="connsiteY6" fmla="*/ 152019 h 163449"/>
              <a:gd name="connsiteX7" fmla="*/ 102108 w 165226"/>
              <a:gd name="connsiteY7" fmla="*/ 148082 h 163449"/>
              <a:gd name="connsiteX8" fmla="*/ 113538 w 165226"/>
              <a:gd name="connsiteY8" fmla="*/ 144652 h 163449"/>
              <a:gd name="connsiteX9" fmla="*/ 116204 w 165226"/>
              <a:gd name="connsiteY9" fmla="*/ 138557 h 163449"/>
              <a:gd name="connsiteX10" fmla="*/ 111125 w 165226"/>
              <a:gd name="connsiteY10" fmla="*/ 124079 h 163449"/>
              <a:gd name="connsiteX11" fmla="*/ 101472 w 165226"/>
              <a:gd name="connsiteY11" fmla="*/ 103886 h 163449"/>
              <a:gd name="connsiteX12" fmla="*/ 45973 w 165226"/>
              <a:gd name="connsiteY12" fmla="*/ 106807 h 163449"/>
              <a:gd name="connsiteX13" fmla="*/ 37338 w 165226"/>
              <a:gd name="connsiteY13" fmla="*/ 129921 h 163449"/>
              <a:gd name="connsiteX14" fmla="*/ 34416 w 165226"/>
              <a:gd name="connsiteY14" fmla="*/ 142621 h 163449"/>
              <a:gd name="connsiteX15" fmla="*/ 37846 w 165226"/>
              <a:gd name="connsiteY15" fmla="*/ 148208 h 163449"/>
              <a:gd name="connsiteX16" fmla="*/ 51561 w 165226"/>
              <a:gd name="connsiteY16" fmla="*/ 150749 h 163449"/>
              <a:gd name="connsiteX17" fmla="*/ 51689 w 165226"/>
              <a:gd name="connsiteY17" fmla="*/ 154686 h 163449"/>
              <a:gd name="connsiteX18" fmla="*/ 6603 w 165226"/>
              <a:gd name="connsiteY18" fmla="*/ 157099 h 163449"/>
              <a:gd name="connsiteX19" fmla="*/ 6350 w 165226"/>
              <a:gd name="connsiteY19" fmla="*/ 153161 h 163449"/>
              <a:gd name="connsiteX20" fmla="*/ 17779 w 165226"/>
              <a:gd name="connsiteY20" fmla="*/ 148336 h 163449"/>
              <a:gd name="connsiteX21" fmla="*/ 28702 w 165226"/>
              <a:gd name="connsiteY21" fmla="*/ 127127 h 163449"/>
              <a:gd name="connsiteX22" fmla="*/ 72897 w 165226"/>
              <a:gd name="connsiteY22" fmla="*/ 6477 h 16344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</a:cxnLst>
            <a:rect l="l" t="t" r="r" b="b"/>
            <a:pathLst>
              <a:path w="165226" h="163449">
                <a:moveTo>
                  <a:pt x="72897" y="6477"/>
                </a:moveTo>
                <a:lnTo>
                  <a:pt x="76580" y="6350"/>
                </a:lnTo>
                <a:lnTo>
                  <a:pt x="132715" y="122936"/>
                </a:lnTo>
                <a:cubicBezTo>
                  <a:pt x="137286" y="132333"/>
                  <a:pt x="141223" y="138302"/>
                  <a:pt x="144652" y="141097"/>
                </a:cubicBezTo>
                <a:cubicBezTo>
                  <a:pt x="148082" y="143763"/>
                  <a:pt x="152780" y="145033"/>
                  <a:pt x="158622" y="145161"/>
                </a:cubicBezTo>
                <a:lnTo>
                  <a:pt x="158877" y="149097"/>
                </a:lnTo>
                <a:lnTo>
                  <a:pt x="102234" y="152019"/>
                </a:lnTo>
                <a:lnTo>
                  <a:pt x="102108" y="148082"/>
                </a:lnTo>
                <a:cubicBezTo>
                  <a:pt x="107696" y="147574"/>
                  <a:pt x="111505" y="146304"/>
                  <a:pt x="113538" y="144652"/>
                </a:cubicBezTo>
                <a:cubicBezTo>
                  <a:pt x="115442" y="142875"/>
                  <a:pt x="116332" y="140843"/>
                  <a:pt x="116204" y="138557"/>
                </a:cubicBezTo>
                <a:cubicBezTo>
                  <a:pt x="116077" y="135508"/>
                  <a:pt x="114300" y="130683"/>
                  <a:pt x="111125" y="124079"/>
                </a:cubicBezTo>
                <a:lnTo>
                  <a:pt x="101472" y="103886"/>
                </a:lnTo>
                <a:lnTo>
                  <a:pt x="45973" y="106807"/>
                </a:lnTo>
                <a:lnTo>
                  <a:pt x="37338" y="129921"/>
                </a:lnTo>
                <a:cubicBezTo>
                  <a:pt x="35305" y="135636"/>
                  <a:pt x="34290" y="139954"/>
                  <a:pt x="34416" y="142621"/>
                </a:cubicBezTo>
                <a:cubicBezTo>
                  <a:pt x="34544" y="144780"/>
                  <a:pt x="35686" y="146685"/>
                  <a:pt x="37846" y="148208"/>
                </a:cubicBezTo>
                <a:cubicBezTo>
                  <a:pt x="40004" y="149733"/>
                  <a:pt x="44577" y="150622"/>
                  <a:pt x="51561" y="150749"/>
                </a:cubicBezTo>
                <a:lnTo>
                  <a:pt x="51689" y="154686"/>
                </a:lnTo>
                <a:lnTo>
                  <a:pt x="6603" y="157099"/>
                </a:lnTo>
                <a:lnTo>
                  <a:pt x="6350" y="153161"/>
                </a:lnTo>
                <a:cubicBezTo>
                  <a:pt x="12319" y="151764"/>
                  <a:pt x="16128" y="150113"/>
                  <a:pt x="17779" y="148336"/>
                </a:cubicBezTo>
                <a:cubicBezTo>
                  <a:pt x="21208" y="144780"/>
                  <a:pt x="24765" y="137794"/>
                  <a:pt x="28702" y="127127"/>
                </a:cubicBezTo>
                <a:lnTo>
                  <a:pt x="72897" y="6477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08" name="Freeform 3"/>
          <p:cNvSpPr/>
          <p:nvPr/>
        </p:nvSpPr>
        <p:spPr>
          <a:xfrm>
            <a:off x="4247348" y="1324130"/>
            <a:ext cx="197401" cy="158204"/>
          </a:xfrm>
          <a:custGeom>
            <a:avLst/>
            <a:gdLst>
              <a:gd name="connsiteX0" fmla="*/ 6350 w 201422"/>
              <a:gd name="connsiteY0" fmla="*/ 11557 h 161417"/>
              <a:gd name="connsiteX1" fmla="*/ 46990 w 201422"/>
              <a:gd name="connsiteY1" fmla="*/ 10413 h 161417"/>
              <a:gd name="connsiteX2" fmla="*/ 102234 w 201422"/>
              <a:gd name="connsiteY2" fmla="*/ 121285 h 161417"/>
              <a:gd name="connsiteX3" fmla="*/ 150367 w 201422"/>
              <a:gd name="connsiteY3" fmla="*/ 7493 h 161417"/>
              <a:gd name="connsiteX4" fmla="*/ 191008 w 201422"/>
              <a:gd name="connsiteY4" fmla="*/ 6350 h 161417"/>
              <a:gd name="connsiteX5" fmla="*/ 191008 w 201422"/>
              <a:gd name="connsiteY5" fmla="*/ 10287 h 161417"/>
              <a:gd name="connsiteX6" fmla="*/ 186054 w 201422"/>
              <a:gd name="connsiteY6" fmla="*/ 10413 h 161417"/>
              <a:gd name="connsiteX7" fmla="*/ 173228 w 201422"/>
              <a:gd name="connsiteY7" fmla="*/ 16256 h 161417"/>
              <a:gd name="connsiteX8" fmla="*/ 171322 w 201422"/>
              <a:gd name="connsiteY8" fmla="*/ 31877 h 161417"/>
              <a:gd name="connsiteX9" fmla="*/ 173990 w 201422"/>
              <a:gd name="connsiteY9" fmla="*/ 125602 h 161417"/>
              <a:gd name="connsiteX10" fmla="*/ 177419 w 201422"/>
              <a:gd name="connsiteY10" fmla="*/ 141986 h 161417"/>
              <a:gd name="connsiteX11" fmla="*/ 189991 w 201422"/>
              <a:gd name="connsiteY11" fmla="*/ 146050 h 161417"/>
              <a:gd name="connsiteX12" fmla="*/ 194945 w 201422"/>
              <a:gd name="connsiteY12" fmla="*/ 145923 h 161417"/>
              <a:gd name="connsiteX13" fmla="*/ 195071 w 201422"/>
              <a:gd name="connsiteY13" fmla="*/ 149860 h 161417"/>
              <a:gd name="connsiteX14" fmla="*/ 134111 w 201422"/>
              <a:gd name="connsiteY14" fmla="*/ 151638 h 161417"/>
              <a:gd name="connsiteX15" fmla="*/ 133984 w 201422"/>
              <a:gd name="connsiteY15" fmla="*/ 147701 h 161417"/>
              <a:gd name="connsiteX16" fmla="*/ 139065 w 201422"/>
              <a:gd name="connsiteY16" fmla="*/ 147574 h 161417"/>
              <a:gd name="connsiteX17" fmla="*/ 151765 w 201422"/>
              <a:gd name="connsiteY17" fmla="*/ 141732 h 161417"/>
              <a:gd name="connsiteX18" fmla="*/ 153670 w 201422"/>
              <a:gd name="connsiteY18" fmla="*/ 126111 h 161417"/>
              <a:gd name="connsiteX19" fmla="*/ 151003 w 201422"/>
              <a:gd name="connsiteY19" fmla="*/ 30226 h 161417"/>
              <a:gd name="connsiteX20" fmla="*/ 99059 w 201422"/>
              <a:gd name="connsiteY20" fmla="*/ 152527 h 161417"/>
              <a:gd name="connsiteX21" fmla="*/ 95503 w 201422"/>
              <a:gd name="connsiteY21" fmla="*/ 152654 h 161417"/>
              <a:gd name="connsiteX22" fmla="*/ 36703 w 201422"/>
              <a:gd name="connsiteY22" fmla="*/ 33527 h 161417"/>
              <a:gd name="connsiteX23" fmla="*/ 39370 w 201422"/>
              <a:gd name="connsiteY23" fmla="*/ 129413 h 161417"/>
              <a:gd name="connsiteX24" fmla="*/ 42671 w 201422"/>
              <a:gd name="connsiteY24" fmla="*/ 145796 h 161417"/>
              <a:gd name="connsiteX25" fmla="*/ 55245 w 201422"/>
              <a:gd name="connsiteY25" fmla="*/ 149860 h 161417"/>
              <a:gd name="connsiteX26" fmla="*/ 60325 w 201422"/>
              <a:gd name="connsiteY26" fmla="*/ 149733 h 161417"/>
              <a:gd name="connsiteX27" fmla="*/ 60452 w 201422"/>
              <a:gd name="connsiteY27" fmla="*/ 153670 h 161417"/>
              <a:gd name="connsiteX28" fmla="*/ 10414 w 201422"/>
              <a:gd name="connsiteY28" fmla="*/ 155066 h 161417"/>
              <a:gd name="connsiteX29" fmla="*/ 10286 w 201422"/>
              <a:gd name="connsiteY29" fmla="*/ 151130 h 161417"/>
              <a:gd name="connsiteX30" fmla="*/ 15366 w 201422"/>
              <a:gd name="connsiteY30" fmla="*/ 151002 h 161417"/>
              <a:gd name="connsiteX31" fmla="*/ 28194 w 201422"/>
              <a:gd name="connsiteY31" fmla="*/ 145161 h 161417"/>
              <a:gd name="connsiteX32" fmla="*/ 30098 w 201422"/>
              <a:gd name="connsiteY32" fmla="*/ 129666 h 161417"/>
              <a:gd name="connsiteX33" fmla="*/ 27432 w 201422"/>
              <a:gd name="connsiteY33" fmla="*/ 35941 h 161417"/>
              <a:gd name="connsiteX34" fmla="*/ 24891 w 201422"/>
              <a:gd name="connsiteY34" fmla="*/ 22225 h 161417"/>
              <a:gd name="connsiteX35" fmla="*/ 19303 w 201422"/>
              <a:gd name="connsiteY35" fmla="*/ 17145 h 161417"/>
              <a:gd name="connsiteX36" fmla="*/ 6477 w 201422"/>
              <a:gd name="connsiteY36" fmla="*/ 15494 h 161417"/>
              <a:gd name="connsiteX37" fmla="*/ 6350 w 201422"/>
              <a:gd name="connsiteY37" fmla="*/ 11557 h 16141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  <a:cxn ang="36">
                <a:pos x="connsiteX36" y="connsiteY36"/>
              </a:cxn>
              <a:cxn ang="37">
                <a:pos x="connsiteX37" y="connsiteY37"/>
              </a:cxn>
            </a:cxnLst>
            <a:rect l="l" t="t" r="r" b="b"/>
            <a:pathLst>
              <a:path w="201422" h="161417">
                <a:moveTo>
                  <a:pt x="6350" y="11557"/>
                </a:moveTo>
                <a:lnTo>
                  <a:pt x="46990" y="10413"/>
                </a:lnTo>
                <a:lnTo>
                  <a:pt x="102234" y="121285"/>
                </a:lnTo>
                <a:lnTo>
                  <a:pt x="150367" y="7493"/>
                </a:lnTo>
                <a:lnTo>
                  <a:pt x="191008" y="6350"/>
                </a:lnTo>
                <a:lnTo>
                  <a:pt x="191008" y="10287"/>
                </a:lnTo>
                <a:lnTo>
                  <a:pt x="186054" y="10413"/>
                </a:lnTo>
                <a:cubicBezTo>
                  <a:pt x="179959" y="10541"/>
                  <a:pt x="175640" y="12573"/>
                  <a:pt x="173228" y="16256"/>
                </a:cubicBezTo>
                <a:cubicBezTo>
                  <a:pt x="171703" y="18541"/>
                  <a:pt x="171069" y="23749"/>
                  <a:pt x="171322" y="31877"/>
                </a:cubicBezTo>
                <a:lnTo>
                  <a:pt x="173990" y="125602"/>
                </a:lnTo>
                <a:cubicBezTo>
                  <a:pt x="174244" y="134366"/>
                  <a:pt x="175386" y="139827"/>
                  <a:pt x="177419" y="141986"/>
                </a:cubicBezTo>
                <a:cubicBezTo>
                  <a:pt x="180085" y="144907"/>
                  <a:pt x="184277" y="146304"/>
                  <a:pt x="189991" y="146050"/>
                </a:cubicBezTo>
                <a:lnTo>
                  <a:pt x="194945" y="145923"/>
                </a:lnTo>
                <a:lnTo>
                  <a:pt x="195071" y="149860"/>
                </a:lnTo>
                <a:lnTo>
                  <a:pt x="134111" y="151638"/>
                </a:lnTo>
                <a:lnTo>
                  <a:pt x="133984" y="147701"/>
                </a:lnTo>
                <a:lnTo>
                  <a:pt x="139065" y="147574"/>
                </a:lnTo>
                <a:cubicBezTo>
                  <a:pt x="145160" y="147320"/>
                  <a:pt x="149352" y="145415"/>
                  <a:pt x="151765" y="141732"/>
                </a:cubicBezTo>
                <a:cubicBezTo>
                  <a:pt x="153289" y="139319"/>
                  <a:pt x="153923" y="134238"/>
                  <a:pt x="153670" y="126111"/>
                </a:cubicBezTo>
                <a:lnTo>
                  <a:pt x="151003" y="30226"/>
                </a:lnTo>
                <a:lnTo>
                  <a:pt x="99059" y="152527"/>
                </a:lnTo>
                <a:lnTo>
                  <a:pt x="95503" y="152654"/>
                </a:lnTo>
                <a:lnTo>
                  <a:pt x="36703" y="33527"/>
                </a:lnTo>
                <a:lnTo>
                  <a:pt x="39370" y="129413"/>
                </a:lnTo>
                <a:cubicBezTo>
                  <a:pt x="39623" y="138176"/>
                  <a:pt x="40766" y="143637"/>
                  <a:pt x="42671" y="145796"/>
                </a:cubicBezTo>
                <a:cubicBezTo>
                  <a:pt x="45339" y="148716"/>
                  <a:pt x="49529" y="150113"/>
                  <a:pt x="55245" y="149860"/>
                </a:cubicBezTo>
                <a:lnTo>
                  <a:pt x="60325" y="149733"/>
                </a:lnTo>
                <a:lnTo>
                  <a:pt x="60452" y="153670"/>
                </a:lnTo>
                <a:lnTo>
                  <a:pt x="10414" y="155066"/>
                </a:lnTo>
                <a:lnTo>
                  <a:pt x="10286" y="151130"/>
                </a:lnTo>
                <a:lnTo>
                  <a:pt x="15366" y="151002"/>
                </a:lnTo>
                <a:cubicBezTo>
                  <a:pt x="21463" y="150876"/>
                  <a:pt x="25780" y="148844"/>
                  <a:pt x="28194" y="145161"/>
                </a:cubicBezTo>
                <a:cubicBezTo>
                  <a:pt x="29717" y="142875"/>
                  <a:pt x="30226" y="137668"/>
                  <a:pt x="30098" y="129666"/>
                </a:cubicBezTo>
                <a:lnTo>
                  <a:pt x="27432" y="35941"/>
                </a:lnTo>
                <a:cubicBezTo>
                  <a:pt x="27178" y="29591"/>
                  <a:pt x="26415" y="25019"/>
                  <a:pt x="24891" y="22225"/>
                </a:cubicBezTo>
                <a:cubicBezTo>
                  <a:pt x="23876" y="20193"/>
                  <a:pt x="21971" y="18541"/>
                  <a:pt x="19303" y="17145"/>
                </a:cubicBezTo>
                <a:cubicBezTo>
                  <a:pt x="16636" y="15875"/>
                  <a:pt x="12319" y="15366"/>
                  <a:pt x="6477" y="15494"/>
                </a:cubicBezTo>
                <a:lnTo>
                  <a:pt x="6350" y="11557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09" name="Freeform 3"/>
          <p:cNvSpPr/>
          <p:nvPr/>
        </p:nvSpPr>
        <p:spPr>
          <a:xfrm>
            <a:off x="4439646" y="1323632"/>
            <a:ext cx="133550" cy="153723"/>
          </a:xfrm>
          <a:custGeom>
            <a:avLst/>
            <a:gdLst>
              <a:gd name="connsiteX0" fmla="*/ 6350 w 136271"/>
              <a:gd name="connsiteY0" fmla="*/ 6985 h 156845"/>
              <a:gd name="connsiteX1" fmla="*/ 116966 w 136271"/>
              <a:gd name="connsiteY1" fmla="*/ 6350 h 156845"/>
              <a:gd name="connsiteX2" fmla="*/ 118744 w 136271"/>
              <a:gd name="connsiteY2" fmla="*/ 37719 h 156845"/>
              <a:gd name="connsiteX3" fmla="*/ 114553 w 136271"/>
              <a:gd name="connsiteY3" fmla="*/ 37719 h 156845"/>
              <a:gd name="connsiteX4" fmla="*/ 109600 w 136271"/>
              <a:gd name="connsiteY4" fmla="*/ 22225 h 156845"/>
              <a:gd name="connsiteX5" fmla="*/ 101472 w 136271"/>
              <a:gd name="connsiteY5" fmla="*/ 15748 h 156845"/>
              <a:gd name="connsiteX6" fmla="*/ 86613 w 136271"/>
              <a:gd name="connsiteY6" fmla="*/ 14351 h 156845"/>
              <a:gd name="connsiteX7" fmla="*/ 47244 w 136271"/>
              <a:gd name="connsiteY7" fmla="*/ 14605 h 156845"/>
              <a:gd name="connsiteX8" fmla="*/ 47497 w 136271"/>
              <a:gd name="connsiteY8" fmla="*/ 71247 h 156845"/>
              <a:gd name="connsiteX9" fmla="*/ 79120 w 136271"/>
              <a:gd name="connsiteY9" fmla="*/ 71120 h 156845"/>
              <a:gd name="connsiteX10" fmla="*/ 95503 w 136271"/>
              <a:gd name="connsiteY10" fmla="*/ 67310 h 156845"/>
              <a:gd name="connsiteX11" fmla="*/ 101472 w 136271"/>
              <a:gd name="connsiteY11" fmla="*/ 50165 h 156845"/>
              <a:gd name="connsiteX12" fmla="*/ 105409 w 136271"/>
              <a:gd name="connsiteY12" fmla="*/ 50038 h 156845"/>
              <a:gd name="connsiteX13" fmla="*/ 105790 w 136271"/>
              <a:gd name="connsiteY13" fmla="*/ 100076 h 156845"/>
              <a:gd name="connsiteX14" fmla="*/ 101853 w 136271"/>
              <a:gd name="connsiteY14" fmla="*/ 100076 h 156845"/>
              <a:gd name="connsiteX15" fmla="*/ 98805 w 136271"/>
              <a:gd name="connsiteY15" fmla="*/ 86614 h 156845"/>
              <a:gd name="connsiteX16" fmla="*/ 92455 w 136271"/>
              <a:gd name="connsiteY16" fmla="*/ 80899 h 156845"/>
              <a:gd name="connsiteX17" fmla="*/ 79120 w 136271"/>
              <a:gd name="connsiteY17" fmla="*/ 78867 h 156845"/>
              <a:gd name="connsiteX18" fmla="*/ 47625 w 136271"/>
              <a:gd name="connsiteY18" fmla="*/ 78994 h 156845"/>
              <a:gd name="connsiteX19" fmla="*/ 47878 w 136271"/>
              <a:gd name="connsiteY19" fmla="*/ 126365 h 156845"/>
              <a:gd name="connsiteX20" fmla="*/ 48767 w 136271"/>
              <a:gd name="connsiteY20" fmla="*/ 137922 h 156845"/>
              <a:gd name="connsiteX21" fmla="*/ 51815 w 136271"/>
              <a:gd name="connsiteY21" fmla="*/ 141224 h 156845"/>
              <a:gd name="connsiteX22" fmla="*/ 59816 w 136271"/>
              <a:gd name="connsiteY22" fmla="*/ 142367 h 156845"/>
              <a:gd name="connsiteX23" fmla="*/ 84200 w 136271"/>
              <a:gd name="connsiteY23" fmla="*/ 142240 h 156845"/>
              <a:gd name="connsiteX24" fmla="*/ 101853 w 136271"/>
              <a:gd name="connsiteY24" fmla="*/ 140462 h 156845"/>
              <a:gd name="connsiteX25" fmla="*/ 112394 w 136271"/>
              <a:gd name="connsiteY25" fmla="*/ 133731 h 156845"/>
              <a:gd name="connsiteX26" fmla="*/ 125729 w 136271"/>
              <a:gd name="connsiteY26" fmla="*/ 113792 h 156845"/>
              <a:gd name="connsiteX27" fmla="*/ 129920 w 136271"/>
              <a:gd name="connsiteY27" fmla="*/ 113792 h 156845"/>
              <a:gd name="connsiteX28" fmla="*/ 117855 w 136271"/>
              <a:gd name="connsiteY28" fmla="*/ 149860 h 156845"/>
              <a:gd name="connsiteX29" fmla="*/ 7238 w 136271"/>
              <a:gd name="connsiteY29" fmla="*/ 150495 h 156845"/>
              <a:gd name="connsiteX30" fmla="*/ 7111 w 136271"/>
              <a:gd name="connsiteY30" fmla="*/ 146558 h 156845"/>
              <a:gd name="connsiteX31" fmla="*/ 12191 w 136271"/>
              <a:gd name="connsiteY31" fmla="*/ 146558 h 156845"/>
              <a:gd name="connsiteX32" fmla="*/ 21844 w 136271"/>
              <a:gd name="connsiteY32" fmla="*/ 144145 h 156845"/>
              <a:gd name="connsiteX33" fmla="*/ 26415 w 136271"/>
              <a:gd name="connsiteY33" fmla="*/ 138938 h 156845"/>
              <a:gd name="connsiteX34" fmla="*/ 27558 w 136271"/>
              <a:gd name="connsiteY34" fmla="*/ 125095 h 156845"/>
              <a:gd name="connsiteX35" fmla="*/ 26923 w 136271"/>
              <a:gd name="connsiteY35" fmla="*/ 31877 h 156845"/>
              <a:gd name="connsiteX36" fmla="*/ 24129 w 136271"/>
              <a:gd name="connsiteY36" fmla="*/ 14986 h 156845"/>
              <a:gd name="connsiteX37" fmla="*/ 11429 w 136271"/>
              <a:gd name="connsiteY37" fmla="*/ 10922 h 156845"/>
              <a:gd name="connsiteX38" fmla="*/ 6350 w 136271"/>
              <a:gd name="connsiteY38" fmla="*/ 10922 h 156845"/>
              <a:gd name="connsiteX39" fmla="*/ 6350 w 136271"/>
              <a:gd name="connsiteY39" fmla="*/ 6985 h 15684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  <a:cxn ang="36">
                <a:pos x="connsiteX36" y="connsiteY36"/>
              </a:cxn>
              <a:cxn ang="37">
                <a:pos x="connsiteX37" y="connsiteY37"/>
              </a:cxn>
              <a:cxn ang="38">
                <a:pos x="connsiteX38" y="connsiteY38"/>
              </a:cxn>
              <a:cxn ang="39">
                <a:pos x="connsiteX39" y="connsiteY39"/>
              </a:cxn>
            </a:cxnLst>
            <a:rect l="l" t="t" r="r" b="b"/>
            <a:pathLst>
              <a:path w="136271" h="156845">
                <a:moveTo>
                  <a:pt x="6350" y="6985"/>
                </a:moveTo>
                <a:lnTo>
                  <a:pt x="116966" y="6350"/>
                </a:lnTo>
                <a:lnTo>
                  <a:pt x="118744" y="37719"/>
                </a:lnTo>
                <a:lnTo>
                  <a:pt x="114553" y="37719"/>
                </a:lnTo>
                <a:cubicBezTo>
                  <a:pt x="113029" y="30226"/>
                  <a:pt x="111378" y="25019"/>
                  <a:pt x="109600" y="22225"/>
                </a:cubicBezTo>
                <a:cubicBezTo>
                  <a:pt x="107695" y="19431"/>
                  <a:pt x="105028" y="17272"/>
                  <a:pt x="101472" y="15748"/>
                </a:cubicBezTo>
                <a:cubicBezTo>
                  <a:pt x="98678" y="14732"/>
                  <a:pt x="93725" y="14224"/>
                  <a:pt x="86613" y="14351"/>
                </a:cubicBezTo>
                <a:lnTo>
                  <a:pt x="47244" y="14605"/>
                </a:lnTo>
                <a:lnTo>
                  <a:pt x="47497" y="71247"/>
                </a:lnTo>
                <a:lnTo>
                  <a:pt x="79120" y="71120"/>
                </a:lnTo>
                <a:cubicBezTo>
                  <a:pt x="87248" y="70993"/>
                  <a:pt x="92709" y="69723"/>
                  <a:pt x="95503" y="67310"/>
                </a:cubicBezTo>
                <a:cubicBezTo>
                  <a:pt x="99186" y="64008"/>
                  <a:pt x="101091" y="58293"/>
                  <a:pt x="101472" y="50165"/>
                </a:cubicBezTo>
                <a:lnTo>
                  <a:pt x="105409" y="50038"/>
                </a:lnTo>
                <a:lnTo>
                  <a:pt x="105790" y="100076"/>
                </a:lnTo>
                <a:lnTo>
                  <a:pt x="101853" y="100076"/>
                </a:lnTo>
                <a:cubicBezTo>
                  <a:pt x="100838" y="93091"/>
                  <a:pt x="99821" y="88646"/>
                  <a:pt x="98805" y="86614"/>
                </a:cubicBezTo>
                <a:cubicBezTo>
                  <a:pt x="97535" y="84201"/>
                  <a:pt x="95376" y="82296"/>
                  <a:pt x="92455" y="80899"/>
                </a:cubicBezTo>
                <a:cubicBezTo>
                  <a:pt x="89661" y="79502"/>
                  <a:pt x="85089" y="78740"/>
                  <a:pt x="79120" y="78867"/>
                </a:cubicBezTo>
                <a:lnTo>
                  <a:pt x="47625" y="78994"/>
                </a:lnTo>
                <a:lnTo>
                  <a:pt x="47878" y="126365"/>
                </a:lnTo>
                <a:cubicBezTo>
                  <a:pt x="47878" y="132715"/>
                  <a:pt x="48259" y="136525"/>
                  <a:pt x="48767" y="137922"/>
                </a:cubicBezTo>
                <a:cubicBezTo>
                  <a:pt x="49402" y="139319"/>
                  <a:pt x="50419" y="140462"/>
                  <a:pt x="51815" y="141224"/>
                </a:cubicBezTo>
                <a:cubicBezTo>
                  <a:pt x="53213" y="141986"/>
                  <a:pt x="55879" y="142367"/>
                  <a:pt x="59816" y="142367"/>
                </a:cubicBezTo>
                <a:lnTo>
                  <a:pt x="84200" y="142240"/>
                </a:lnTo>
                <a:cubicBezTo>
                  <a:pt x="92328" y="142113"/>
                  <a:pt x="98170" y="141605"/>
                  <a:pt x="101853" y="140462"/>
                </a:cubicBezTo>
                <a:cubicBezTo>
                  <a:pt x="105536" y="139319"/>
                  <a:pt x="109092" y="137033"/>
                  <a:pt x="112394" y="133731"/>
                </a:cubicBezTo>
                <a:cubicBezTo>
                  <a:pt x="116713" y="129286"/>
                  <a:pt x="121157" y="122682"/>
                  <a:pt x="125729" y="113792"/>
                </a:cubicBezTo>
                <a:lnTo>
                  <a:pt x="129920" y="113792"/>
                </a:lnTo>
                <a:lnTo>
                  <a:pt x="117855" y="149860"/>
                </a:lnTo>
                <a:lnTo>
                  <a:pt x="7238" y="150495"/>
                </a:lnTo>
                <a:lnTo>
                  <a:pt x="7111" y="146558"/>
                </a:lnTo>
                <a:lnTo>
                  <a:pt x="12191" y="146558"/>
                </a:lnTo>
                <a:cubicBezTo>
                  <a:pt x="15620" y="146558"/>
                  <a:pt x="18795" y="145796"/>
                  <a:pt x="21844" y="144145"/>
                </a:cubicBezTo>
                <a:cubicBezTo>
                  <a:pt x="24129" y="143002"/>
                  <a:pt x="25653" y="141224"/>
                  <a:pt x="26415" y="138938"/>
                </a:cubicBezTo>
                <a:cubicBezTo>
                  <a:pt x="27177" y="136779"/>
                  <a:pt x="27558" y="132080"/>
                  <a:pt x="27558" y="125095"/>
                </a:cubicBezTo>
                <a:lnTo>
                  <a:pt x="26923" y="31877"/>
                </a:lnTo>
                <a:cubicBezTo>
                  <a:pt x="26923" y="22733"/>
                  <a:pt x="26034" y="17145"/>
                  <a:pt x="24129" y="14986"/>
                </a:cubicBezTo>
                <a:cubicBezTo>
                  <a:pt x="21589" y="12192"/>
                  <a:pt x="17271" y="10795"/>
                  <a:pt x="11429" y="10922"/>
                </a:cubicBezTo>
                <a:lnTo>
                  <a:pt x="6350" y="10922"/>
                </a:lnTo>
                <a:lnTo>
                  <a:pt x="6350" y="6985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10" name="Freeform 3"/>
          <p:cNvSpPr/>
          <p:nvPr/>
        </p:nvSpPr>
        <p:spPr>
          <a:xfrm>
            <a:off x="4568963" y="1323383"/>
            <a:ext cx="159812" cy="155091"/>
          </a:xfrm>
          <a:custGeom>
            <a:avLst/>
            <a:gdLst>
              <a:gd name="connsiteX0" fmla="*/ 8254 w 163068"/>
              <a:gd name="connsiteY0" fmla="*/ 6350 h 158241"/>
              <a:gd name="connsiteX1" fmla="*/ 69722 w 163068"/>
              <a:gd name="connsiteY1" fmla="*/ 7111 h 158241"/>
              <a:gd name="connsiteX2" fmla="*/ 69722 w 163068"/>
              <a:gd name="connsiteY2" fmla="*/ 11049 h 158241"/>
              <a:gd name="connsiteX3" fmla="*/ 64516 w 163068"/>
              <a:gd name="connsiteY3" fmla="*/ 11049 h 158241"/>
              <a:gd name="connsiteX4" fmla="*/ 54864 w 163068"/>
              <a:gd name="connsiteY4" fmla="*/ 13335 h 158241"/>
              <a:gd name="connsiteX5" fmla="*/ 50291 w 163068"/>
              <a:gd name="connsiteY5" fmla="*/ 18414 h 158241"/>
              <a:gd name="connsiteX6" fmla="*/ 48767 w 163068"/>
              <a:gd name="connsiteY6" fmla="*/ 32385 h 158241"/>
              <a:gd name="connsiteX7" fmla="*/ 48260 w 163068"/>
              <a:gd name="connsiteY7" fmla="*/ 73405 h 158241"/>
              <a:gd name="connsiteX8" fmla="*/ 114935 w 163068"/>
              <a:gd name="connsiteY8" fmla="*/ 74294 h 158241"/>
              <a:gd name="connsiteX9" fmla="*/ 115442 w 163068"/>
              <a:gd name="connsiteY9" fmla="*/ 33274 h 158241"/>
              <a:gd name="connsiteX10" fmla="*/ 114300 w 163068"/>
              <a:gd name="connsiteY10" fmla="*/ 18796 h 158241"/>
              <a:gd name="connsiteX11" fmla="*/ 109854 w 163068"/>
              <a:gd name="connsiteY11" fmla="*/ 14097 h 158241"/>
              <a:gd name="connsiteX12" fmla="*/ 100329 w 163068"/>
              <a:gd name="connsiteY12" fmla="*/ 11430 h 158241"/>
              <a:gd name="connsiteX13" fmla="*/ 95250 w 163068"/>
              <a:gd name="connsiteY13" fmla="*/ 11430 h 158241"/>
              <a:gd name="connsiteX14" fmla="*/ 95250 w 163068"/>
              <a:gd name="connsiteY14" fmla="*/ 7493 h 158241"/>
              <a:gd name="connsiteX15" fmla="*/ 156717 w 163068"/>
              <a:gd name="connsiteY15" fmla="*/ 8255 h 158241"/>
              <a:gd name="connsiteX16" fmla="*/ 156591 w 163068"/>
              <a:gd name="connsiteY16" fmla="*/ 12191 h 158241"/>
              <a:gd name="connsiteX17" fmla="*/ 151510 w 163068"/>
              <a:gd name="connsiteY17" fmla="*/ 12191 h 158241"/>
              <a:gd name="connsiteX18" fmla="*/ 141859 w 163068"/>
              <a:gd name="connsiteY18" fmla="*/ 14477 h 158241"/>
              <a:gd name="connsiteX19" fmla="*/ 137160 w 163068"/>
              <a:gd name="connsiteY19" fmla="*/ 19558 h 158241"/>
              <a:gd name="connsiteX20" fmla="*/ 135763 w 163068"/>
              <a:gd name="connsiteY20" fmla="*/ 33527 h 158241"/>
              <a:gd name="connsiteX21" fmla="*/ 134620 w 163068"/>
              <a:gd name="connsiteY21" fmla="*/ 126238 h 158241"/>
              <a:gd name="connsiteX22" fmla="*/ 135763 w 163068"/>
              <a:gd name="connsiteY22" fmla="*/ 140588 h 158241"/>
              <a:gd name="connsiteX23" fmla="*/ 140080 w 163068"/>
              <a:gd name="connsiteY23" fmla="*/ 145161 h 158241"/>
              <a:gd name="connsiteX24" fmla="*/ 149733 w 163068"/>
              <a:gd name="connsiteY24" fmla="*/ 147827 h 158241"/>
              <a:gd name="connsiteX25" fmla="*/ 154813 w 163068"/>
              <a:gd name="connsiteY25" fmla="*/ 147955 h 158241"/>
              <a:gd name="connsiteX26" fmla="*/ 154813 w 163068"/>
              <a:gd name="connsiteY26" fmla="*/ 151891 h 158241"/>
              <a:gd name="connsiteX27" fmla="*/ 93345 w 163068"/>
              <a:gd name="connsiteY27" fmla="*/ 151002 h 158241"/>
              <a:gd name="connsiteX28" fmla="*/ 93472 w 163068"/>
              <a:gd name="connsiteY28" fmla="*/ 147193 h 158241"/>
              <a:gd name="connsiteX29" fmla="*/ 98552 w 163068"/>
              <a:gd name="connsiteY29" fmla="*/ 147193 h 158241"/>
              <a:gd name="connsiteX30" fmla="*/ 111378 w 163068"/>
              <a:gd name="connsiteY30" fmla="*/ 142239 h 158241"/>
              <a:gd name="connsiteX31" fmla="*/ 114172 w 163068"/>
              <a:gd name="connsiteY31" fmla="*/ 125857 h 158241"/>
              <a:gd name="connsiteX32" fmla="*/ 114808 w 163068"/>
              <a:gd name="connsiteY32" fmla="*/ 82169 h 158241"/>
              <a:gd name="connsiteX33" fmla="*/ 48133 w 163068"/>
              <a:gd name="connsiteY33" fmla="*/ 81280 h 158241"/>
              <a:gd name="connsiteX34" fmla="*/ 47497 w 163068"/>
              <a:gd name="connsiteY34" fmla="*/ 124968 h 158241"/>
              <a:gd name="connsiteX35" fmla="*/ 48767 w 163068"/>
              <a:gd name="connsiteY35" fmla="*/ 139446 h 158241"/>
              <a:gd name="connsiteX36" fmla="*/ 53085 w 163068"/>
              <a:gd name="connsiteY36" fmla="*/ 144018 h 158241"/>
              <a:gd name="connsiteX37" fmla="*/ 62738 w 163068"/>
              <a:gd name="connsiteY37" fmla="*/ 146685 h 158241"/>
              <a:gd name="connsiteX38" fmla="*/ 67945 w 163068"/>
              <a:gd name="connsiteY38" fmla="*/ 146811 h 158241"/>
              <a:gd name="connsiteX39" fmla="*/ 67817 w 163068"/>
              <a:gd name="connsiteY39" fmla="*/ 150749 h 158241"/>
              <a:gd name="connsiteX40" fmla="*/ 6350 w 163068"/>
              <a:gd name="connsiteY40" fmla="*/ 149860 h 158241"/>
              <a:gd name="connsiteX41" fmla="*/ 6350 w 163068"/>
              <a:gd name="connsiteY41" fmla="*/ 145922 h 158241"/>
              <a:gd name="connsiteX42" fmla="*/ 11429 w 163068"/>
              <a:gd name="connsiteY42" fmla="*/ 146050 h 158241"/>
              <a:gd name="connsiteX43" fmla="*/ 24510 w 163068"/>
              <a:gd name="connsiteY43" fmla="*/ 140969 h 158241"/>
              <a:gd name="connsiteX44" fmla="*/ 27178 w 163068"/>
              <a:gd name="connsiteY44" fmla="*/ 124713 h 158241"/>
              <a:gd name="connsiteX45" fmla="*/ 28447 w 163068"/>
              <a:gd name="connsiteY45" fmla="*/ 32130 h 158241"/>
              <a:gd name="connsiteX46" fmla="*/ 27304 w 163068"/>
              <a:gd name="connsiteY46" fmla="*/ 17652 h 158241"/>
              <a:gd name="connsiteX47" fmla="*/ 22986 w 163068"/>
              <a:gd name="connsiteY47" fmla="*/ 12953 h 158241"/>
              <a:gd name="connsiteX48" fmla="*/ 13335 w 163068"/>
              <a:gd name="connsiteY48" fmla="*/ 10286 h 158241"/>
              <a:gd name="connsiteX49" fmla="*/ 8254 w 163068"/>
              <a:gd name="connsiteY49" fmla="*/ 10286 h 158241"/>
              <a:gd name="connsiteX50" fmla="*/ 8254 w 163068"/>
              <a:gd name="connsiteY50" fmla="*/ 6350 h 15824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  <a:cxn ang="36">
                <a:pos x="connsiteX36" y="connsiteY36"/>
              </a:cxn>
              <a:cxn ang="37">
                <a:pos x="connsiteX37" y="connsiteY37"/>
              </a:cxn>
              <a:cxn ang="38">
                <a:pos x="connsiteX38" y="connsiteY38"/>
              </a:cxn>
              <a:cxn ang="39">
                <a:pos x="connsiteX39" y="connsiteY39"/>
              </a:cxn>
              <a:cxn ang="40">
                <a:pos x="connsiteX40" y="connsiteY40"/>
              </a:cxn>
              <a:cxn ang="41">
                <a:pos x="connsiteX41" y="connsiteY41"/>
              </a:cxn>
              <a:cxn ang="42">
                <a:pos x="connsiteX42" y="connsiteY42"/>
              </a:cxn>
              <a:cxn ang="43">
                <a:pos x="connsiteX43" y="connsiteY43"/>
              </a:cxn>
              <a:cxn ang="44">
                <a:pos x="connsiteX44" y="connsiteY44"/>
              </a:cxn>
              <a:cxn ang="45">
                <a:pos x="connsiteX45" y="connsiteY45"/>
              </a:cxn>
              <a:cxn ang="46">
                <a:pos x="connsiteX46" y="connsiteY46"/>
              </a:cxn>
              <a:cxn ang="47">
                <a:pos x="connsiteX47" y="connsiteY47"/>
              </a:cxn>
              <a:cxn ang="48">
                <a:pos x="connsiteX48" y="connsiteY48"/>
              </a:cxn>
              <a:cxn ang="49">
                <a:pos x="connsiteX49" y="connsiteY49"/>
              </a:cxn>
              <a:cxn ang="50">
                <a:pos x="connsiteX50" y="connsiteY50"/>
              </a:cxn>
            </a:cxnLst>
            <a:rect l="l" t="t" r="r" b="b"/>
            <a:pathLst>
              <a:path w="163068" h="158241">
                <a:moveTo>
                  <a:pt x="8254" y="6350"/>
                </a:moveTo>
                <a:lnTo>
                  <a:pt x="69722" y="7111"/>
                </a:lnTo>
                <a:lnTo>
                  <a:pt x="69722" y="11049"/>
                </a:lnTo>
                <a:lnTo>
                  <a:pt x="64516" y="11049"/>
                </a:lnTo>
                <a:cubicBezTo>
                  <a:pt x="61086" y="10922"/>
                  <a:pt x="57911" y="11683"/>
                  <a:pt x="54864" y="13335"/>
                </a:cubicBezTo>
                <a:cubicBezTo>
                  <a:pt x="52704" y="14350"/>
                  <a:pt x="51053" y="16128"/>
                  <a:pt x="50291" y="18414"/>
                </a:cubicBezTo>
                <a:cubicBezTo>
                  <a:pt x="49403" y="20700"/>
                  <a:pt x="48895" y="25272"/>
                  <a:pt x="48767" y="32385"/>
                </a:cubicBezTo>
                <a:lnTo>
                  <a:pt x="48260" y="73405"/>
                </a:lnTo>
                <a:lnTo>
                  <a:pt x="114935" y="74294"/>
                </a:lnTo>
                <a:lnTo>
                  <a:pt x="115442" y="33274"/>
                </a:lnTo>
                <a:cubicBezTo>
                  <a:pt x="115570" y="25908"/>
                  <a:pt x="115189" y="21082"/>
                  <a:pt x="114300" y="18796"/>
                </a:cubicBezTo>
                <a:cubicBezTo>
                  <a:pt x="113665" y="17018"/>
                  <a:pt x="112141" y="15494"/>
                  <a:pt x="109854" y="14097"/>
                </a:cubicBezTo>
                <a:cubicBezTo>
                  <a:pt x="106934" y="12446"/>
                  <a:pt x="103632" y="11557"/>
                  <a:pt x="100329" y="11430"/>
                </a:cubicBezTo>
                <a:lnTo>
                  <a:pt x="95250" y="11430"/>
                </a:lnTo>
                <a:lnTo>
                  <a:pt x="95250" y="7493"/>
                </a:lnTo>
                <a:lnTo>
                  <a:pt x="156717" y="8255"/>
                </a:lnTo>
                <a:lnTo>
                  <a:pt x="156591" y="12191"/>
                </a:lnTo>
                <a:lnTo>
                  <a:pt x="151510" y="12191"/>
                </a:lnTo>
                <a:cubicBezTo>
                  <a:pt x="148209" y="12064"/>
                  <a:pt x="144907" y="12827"/>
                  <a:pt x="141859" y="14477"/>
                </a:cubicBezTo>
                <a:cubicBezTo>
                  <a:pt x="139572" y="15621"/>
                  <a:pt x="138048" y="17272"/>
                  <a:pt x="137160" y="19558"/>
                </a:cubicBezTo>
                <a:cubicBezTo>
                  <a:pt x="136397" y="21844"/>
                  <a:pt x="135890" y="26543"/>
                  <a:pt x="135763" y="33527"/>
                </a:cubicBezTo>
                <a:lnTo>
                  <a:pt x="134620" y="126238"/>
                </a:lnTo>
                <a:cubicBezTo>
                  <a:pt x="134492" y="133477"/>
                  <a:pt x="134873" y="138302"/>
                  <a:pt x="135763" y="140588"/>
                </a:cubicBezTo>
                <a:cubicBezTo>
                  <a:pt x="136397" y="142366"/>
                  <a:pt x="137795" y="143891"/>
                  <a:pt x="140080" y="145161"/>
                </a:cubicBezTo>
                <a:cubicBezTo>
                  <a:pt x="143128" y="146938"/>
                  <a:pt x="146303" y="147827"/>
                  <a:pt x="149733" y="147827"/>
                </a:cubicBezTo>
                <a:lnTo>
                  <a:pt x="154813" y="147955"/>
                </a:lnTo>
                <a:lnTo>
                  <a:pt x="154813" y="151891"/>
                </a:lnTo>
                <a:lnTo>
                  <a:pt x="93345" y="151002"/>
                </a:lnTo>
                <a:lnTo>
                  <a:pt x="93472" y="147193"/>
                </a:lnTo>
                <a:lnTo>
                  <a:pt x="98552" y="147193"/>
                </a:lnTo>
                <a:cubicBezTo>
                  <a:pt x="104394" y="147319"/>
                  <a:pt x="108585" y="145541"/>
                  <a:pt x="111378" y="142239"/>
                </a:cubicBezTo>
                <a:cubicBezTo>
                  <a:pt x="113157" y="139953"/>
                  <a:pt x="114172" y="134493"/>
                  <a:pt x="114172" y="125857"/>
                </a:cubicBezTo>
                <a:lnTo>
                  <a:pt x="114808" y="82169"/>
                </a:lnTo>
                <a:lnTo>
                  <a:pt x="48133" y="81280"/>
                </a:lnTo>
                <a:lnTo>
                  <a:pt x="47497" y="124968"/>
                </a:lnTo>
                <a:cubicBezTo>
                  <a:pt x="47497" y="132333"/>
                  <a:pt x="47878" y="137160"/>
                  <a:pt x="48767" y="139446"/>
                </a:cubicBezTo>
                <a:cubicBezTo>
                  <a:pt x="49403" y="141224"/>
                  <a:pt x="50927" y="142747"/>
                  <a:pt x="53085" y="144018"/>
                </a:cubicBezTo>
                <a:cubicBezTo>
                  <a:pt x="56134" y="145796"/>
                  <a:pt x="59309" y="146685"/>
                  <a:pt x="62738" y="146685"/>
                </a:cubicBezTo>
                <a:lnTo>
                  <a:pt x="67945" y="146811"/>
                </a:lnTo>
                <a:lnTo>
                  <a:pt x="67817" y="150749"/>
                </a:lnTo>
                <a:lnTo>
                  <a:pt x="6350" y="149860"/>
                </a:lnTo>
                <a:lnTo>
                  <a:pt x="6350" y="145922"/>
                </a:lnTo>
                <a:lnTo>
                  <a:pt x="11429" y="146050"/>
                </a:lnTo>
                <a:cubicBezTo>
                  <a:pt x="17398" y="146177"/>
                  <a:pt x="21716" y="144399"/>
                  <a:pt x="24510" y="140969"/>
                </a:cubicBezTo>
                <a:cubicBezTo>
                  <a:pt x="26161" y="138811"/>
                  <a:pt x="27051" y="133350"/>
                  <a:pt x="27178" y="124713"/>
                </a:cubicBezTo>
                <a:lnTo>
                  <a:pt x="28447" y="32130"/>
                </a:lnTo>
                <a:cubicBezTo>
                  <a:pt x="28575" y="24764"/>
                  <a:pt x="28194" y="19938"/>
                  <a:pt x="27304" y="17652"/>
                </a:cubicBezTo>
                <a:cubicBezTo>
                  <a:pt x="26542" y="15875"/>
                  <a:pt x="25146" y="14350"/>
                  <a:pt x="22986" y="12953"/>
                </a:cubicBezTo>
                <a:cubicBezTo>
                  <a:pt x="19939" y="11302"/>
                  <a:pt x="16636" y="10413"/>
                  <a:pt x="13335" y="10286"/>
                </a:cubicBezTo>
                <a:lnTo>
                  <a:pt x="8254" y="10286"/>
                </a:lnTo>
                <a:lnTo>
                  <a:pt x="8254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11" name="Freeform 3"/>
          <p:cNvSpPr/>
          <p:nvPr/>
        </p:nvSpPr>
        <p:spPr>
          <a:xfrm>
            <a:off x="4727655" y="1325749"/>
            <a:ext cx="130439" cy="155962"/>
          </a:xfrm>
          <a:custGeom>
            <a:avLst/>
            <a:gdLst>
              <a:gd name="connsiteX0" fmla="*/ 9144 w 133096"/>
              <a:gd name="connsiteY0" fmla="*/ 6350 h 159130"/>
              <a:gd name="connsiteX1" fmla="*/ 126238 w 133096"/>
              <a:gd name="connsiteY1" fmla="*/ 10159 h 159130"/>
              <a:gd name="connsiteX2" fmla="*/ 126746 w 133096"/>
              <a:gd name="connsiteY2" fmla="*/ 43814 h 159130"/>
              <a:gd name="connsiteX3" fmla="*/ 122809 w 133096"/>
              <a:gd name="connsiteY3" fmla="*/ 43687 h 159130"/>
              <a:gd name="connsiteX4" fmla="*/ 120015 w 133096"/>
              <a:gd name="connsiteY4" fmla="*/ 30987 h 159130"/>
              <a:gd name="connsiteX5" fmla="*/ 111633 w 133096"/>
              <a:gd name="connsiteY5" fmla="*/ 21589 h 159130"/>
              <a:gd name="connsiteX6" fmla="*/ 97282 w 133096"/>
              <a:gd name="connsiteY6" fmla="*/ 18287 h 159130"/>
              <a:gd name="connsiteX7" fmla="*/ 77089 w 133096"/>
              <a:gd name="connsiteY7" fmla="*/ 17525 h 159130"/>
              <a:gd name="connsiteX8" fmla="*/ 73533 w 133096"/>
              <a:gd name="connsiteY8" fmla="*/ 127253 h 159130"/>
              <a:gd name="connsiteX9" fmla="*/ 75946 w 133096"/>
              <a:gd name="connsiteY9" fmla="*/ 143763 h 159130"/>
              <a:gd name="connsiteX10" fmla="*/ 88138 w 133096"/>
              <a:gd name="connsiteY10" fmla="*/ 148716 h 159130"/>
              <a:gd name="connsiteX11" fmla="*/ 93091 w 133096"/>
              <a:gd name="connsiteY11" fmla="*/ 148844 h 159130"/>
              <a:gd name="connsiteX12" fmla="*/ 92964 w 133096"/>
              <a:gd name="connsiteY12" fmla="*/ 152780 h 159130"/>
              <a:gd name="connsiteX13" fmla="*/ 32130 w 133096"/>
              <a:gd name="connsiteY13" fmla="*/ 150748 h 159130"/>
              <a:gd name="connsiteX14" fmla="*/ 32258 w 133096"/>
              <a:gd name="connsiteY14" fmla="*/ 146811 h 159130"/>
              <a:gd name="connsiteX15" fmla="*/ 37338 w 133096"/>
              <a:gd name="connsiteY15" fmla="*/ 147065 h 159130"/>
              <a:gd name="connsiteX16" fmla="*/ 50419 w 133096"/>
              <a:gd name="connsiteY16" fmla="*/ 141986 h 159130"/>
              <a:gd name="connsiteX17" fmla="*/ 53213 w 133096"/>
              <a:gd name="connsiteY17" fmla="*/ 126619 h 159130"/>
              <a:gd name="connsiteX18" fmla="*/ 56769 w 133096"/>
              <a:gd name="connsiteY18" fmla="*/ 16890 h 159130"/>
              <a:gd name="connsiteX19" fmla="*/ 39497 w 133096"/>
              <a:gd name="connsiteY19" fmla="*/ 16383 h 159130"/>
              <a:gd name="connsiteX20" fmla="*/ 25272 w 133096"/>
              <a:gd name="connsiteY20" fmla="*/ 17398 h 159130"/>
              <a:gd name="connsiteX21" fmla="*/ 15494 w 133096"/>
              <a:gd name="connsiteY21" fmla="*/ 24764 h 159130"/>
              <a:gd name="connsiteX22" fmla="*/ 10414 w 133096"/>
              <a:gd name="connsiteY22" fmla="*/ 40131 h 159130"/>
              <a:gd name="connsiteX23" fmla="*/ 6350 w 133096"/>
              <a:gd name="connsiteY23" fmla="*/ 40005 h 159130"/>
              <a:gd name="connsiteX24" fmla="*/ 9144 w 133096"/>
              <a:gd name="connsiteY24" fmla="*/ 6350 h 15913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</a:cxnLst>
            <a:rect l="l" t="t" r="r" b="b"/>
            <a:pathLst>
              <a:path w="133096" h="159130">
                <a:moveTo>
                  <a:pt x="9144" y="6350"/>
                </a:moveTo>
                <a:lnTo>
                  <a:pt x="126238" y="10159"/>
                </a:lnTo>
                <a:lnTo>
                  <a:pt x="126746" y="43814"/>
                </a:lnTo>
                <a:lnTo>
                  <a:pt x="122809" y="43687"/>
                </a:lnTo>
                <a:cubicBezTo>
                  <a:pt x="122173" y="37845"/>
                  <a:pt x="121285" y="33527"/>
                  <a:pt x="120015" y="30987"/>
                </a:cubicBezTo>
                <a:cubicBezTo>
                  <a:pt x="117983" y="26797"/>
                  <a:pt x="115189" y="23622"/>
                  <a:pt x="111633" y="21589"/>
                </a:cubicBezTo>
                <a:cubicBezTo>
                  <a:pt x="107950" y="19558"/>
                  <a:pt x="103251" y="18414"/>
                  <a:pt x="97282" y="18287"/>
                </a:cubicBezTo>
                <a:lnTo>
                  <a:pt x="77089" y="17525"/>
                </a:lnTo>
                <a:lnTo>
                  <a:pt x="73533" y="127253"/>
                </a:lnTo>
                <a:cubicBezTo>
                  <a:pt x="73278" y="136016"/>
                  <a:pt x="74041" y="141605"/>
                  <a:pt x="75946" y="143763"/>
                </a:cubicBezTo>
                <a:cubicBezTo>
                  <a:pt x="78485" y="146811"/>
                  <a:pt x="82550" y="148462"/>
                  <a:pt x="88138" y="148716"/>
                </a:cubicBezTo>
                <a:lnTo>
                  <a:pt x="93091" y="148844"/>
                </a:lnTo>
                <a:lnTo>
                  <a:pt x="92964" y="152780"/>
                </a:lnTo>
                <a:lnTo>
                  <a:pt x="32130" y="150748"/>
                </a:lnTo>
                <a:lnTo>
                  <a:pt x="32258" y="146811"/>
                </a:lnTo>
                <a:lnTo>
                  <a:pt x="37338" y="147065"/>
                </a:lnTo>
                <a:cubicBezTo>
                  <a:pt x="43434" y="147192"/>
                  <a:pt x="47752" y="145541"/>
                  <a:pt x="50419" y="141986"/>
                </a:cubicBezTo>
                <a:cubicBezTo>
                  <a:pt x="52070" y="139700"/>
                  <a:pt x="52959" y="134619"/>
                  <a:pt x="53213" y="126619"/>
                </a:cubicBezTo>
                <a:lnTo>
                  <a:pt x="56769" y="16890"/>
                </a:lnTo>
                <a:lnTo>
                  <a:pt x="39497" y="16383"/>
                </a:lnTo>
                <a:cubicBezTo>
                  <a:pt x="32892" y="16128"/>
                  <a:pt x="28066" y="16509"/>
                  <a:pt x="25272" y="17398"/>
                </a:cubicBezTo>
                <a:cubicBezTo>
                  <a:pt x="21463" y="18669"/>
                  <a:pt x="18288" y="21081"/>
                  <a:pt x="15494" y="24764"/>
                </a:cubicBezTo>
                <a:cubicBezTo>
                  <a:pt x="12827" y="28575"/>
                  <a:pt x="11048" y="33655"/>
                  <a:pt x="10414" y="40131"/>
                </a:cubicBezTo>
                <a:lnTo>
                  <a:pt x="6350" y="40005"/>
                </a:lnTo>
                <a:lnTo>
                  <a:pt x="9144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12" name="Freeform 3"/>
          <p:cNvSpPr/>
          <p:nvPr/>
        </p:nvSpPr>
        <p:spPr>
          <a:xfrm>
            <a:off x="4885228" y="1361845"/>
            <a:ext cx="60739" cy="70575"/>
          </a:xfrm>
          <a:custGeom>
            <a:avLst/>
            <a:gdLst>
              <a:gd name="connsiteX0" fmla="*/ 34290 w 61976"/>
              <a:gd name="connsiteY0" fmla="*/ 6350 h 72008"/>
              <a:gd name="connsiteX1" fmla="*/ 6350 w 61976"/>
              <a:gd name="connsiteY1" fmla="*/ 62991 h 72008"/>
              <a:gd name="connsiteX2" fmla="*/ 55626 w 61976"/>
              <a:gd name="connsiteY2" fmla="*/ 65658 h 72008"/>
              <a:gd name="connsiteX3" fmla="*/ 34290 w 61976"/>
              <a:gd name="connsiteY3" fmla="*/ 6350 h 7200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</a:cxnLst>
            <a:rect l="l" t="t" r="r" b="b"/>
            <a:pathLst>
              <a:path w="61976" h="72008">
                <a:moveTo>
                  <a:pt x="34290" y="6350"/>
                </a:moveTo>
                <a:lnTo>
                  <a:pt x="6350" y="62991"/>
                </a:lnTo>
                <a:lnTo>
                  <a:pt x="55626" y="65658"/>
                </a:lnTo>
                <a:lnTo>
                  <a:pt x="34290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13" name="Freeform 3"/>
          <p:cNvSpPr/>
          <p:nvPr/>
        </p:nvSpPr>
        <p:spPr>
          <a:xfrm>
            <a:off x="4838181" y="1329856"/>
            <a:ext cx="161804" cy="160195"/>
          </a:xfrm>
          <a:custGeom>
            <a:avLst/>
            <a:gdLst>
              <a:gd name="connsiteX0" fmla="*/ 87884 w 165100"/>
              <a:gd name="connsiteY0" fmla="*/ 6350 h 163449"/>
              <a:gd name="connsiteX1" fmla="*/ 91566 w 165100"/>
              <a:gd name="connsiteY1" fmla="*/ 6604 h 163449"/>
              <a:gd name="connsiteX2" fmla="*/ 135382 w 165100"/>
              <a:gd name="connsiteY2" fmla="*/ 128397 h 163449"/>
              <a:gd name="connsiteX3" fmla="*/ 145288 w 165100"/>
              <a:gd name="connsiteY3" fmla="*/ 147574 h 163449"/>
              <a:gd name="connsiteX4" fmla="*/ 158750 w 165100"/>
              <a:gd name="connsiteY4" fmla="*/ 153162 h 163449"/>
              <a:gd name="connsiteX5" fmla="*/ 158622 w 165100"/>
              <a:gd name="connsiteY5" fmla="*/ 157099 h 163449"/>
              <a:gd name="connsiteX6" fmla="*/ 101980 w 165100"/>
              <a:gd name="connsiteY6" fmla="*/ 154178 h 163449"/>
              <a:gd name="connsiteX7" fmla="*/ 102234 w 165100"/>
              <a:gd name="connsiteY7" fmla="*/ 150241 h 163449"/>
              <a:gd name="connsiteX8" fmla="*/ 113919 w 165100"/>
              <a:gd name="connsiteY8" fmla="*/ 147955 h 163449"/>
              <a:gd name="connsiteX9" fmla="*/ 117221 w 165100"/>
              <a:gd name="connsiteY9" fmla="*/ 142240 h 163449"/>
              <a:gd name="connsiteX10" fmla="*/ 113791 w 165100"/>
              <a:gd name="connsiteY10" fmla="*/ 127254 h 163449"/>
              <a:gd name="connsiteX11" fmla="*/ 106171 w 165100"/>
              <a:gd name="connsiteY11" fmla="*/ 106172 h 163449"/>
              <a:gd name="connsiteX12" fmla="*/ 50672 w 165100"/>
              <a:gd name="connsiteY12" fmla="*/ 103378 h 163449"/>
              <a:gd name="connsiteX13" fmla="*/ 39751 w 165100"/>
              <a:gd name="connsiteY13" fmla="*/ 125476 h 163449"/>
              <a:gd name="connsiteX14" fmla="*/ 35559 w 165100"/>
              <a:gd name="connsiteY14" fmla="*/ 137795 h 163449"/>
              <a:gd name="connsiteX15" fmla="*/ 38353 w 165100"/>
              <a:gd name="connsiteY15" fmla="*/ 143637 h 163449"/>
              <a:gd name="connsiteX16" fmla="*/ 51689 w 165100"/>
              <a:gd name="connsiteY16" fmla="*/ 147574 h 163449"/>
              <a:gd name="connsiteX17" fmla="*/ 51434 w 165100"/>
              <a:gd name="connsiteY17" fmla="*/ 151511 h 163449"/>
              <a:gd name="connsiteX18" fmla="*/ 6350 w 165100"/>
              <a:gd name="connsiteY18" fmla="*/ 149225 h 163449"/>
              <a:gd name="connsiteX19" fmla="*/ 6477 w 165100"/>
              <a:gd name="connsiteY19" fmla="*/ 145288 h 163449"/>
              <a:gd name="connsiteX20" fmla="*/ 18415 w 165100"/>
              <a:gd name="connsiteY20" fmla="*/ 141732 h 163449"/>
              <a:gd name="connsiteX21" fmla="*/ 31369 w 165100"/>
              <a:gd name="connsiteY21" fmla="*/ 121793 h 163449"/>
              <a:gd name="connsiteX22" fmla="*/ 87884 w 165100"/>
              <a:gd name="connsiteY22" fmla="*/ 6350 h 16344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</a:cxnLst>
            <a:rect l="l" t="t" r="r" b="b"/>
            <a:pathLst>
              <a:path w="165100" h="163449">
                <a:moveTo>
                  <a:pt x="87884" y="6350"/>
                </a:moveTo>
                <a:lnTo>
                  <a:pt x="91566" y="6604"/>
                </a:lnTo>
                <a:lnTo>
                  <a:pt x="135382" y="128397"/>
                </a:lnTo>
                <a:cubicBezTo>
                  <a:pt x="138938" y="138176"/>
                  <a:pt x="142240" y="144653"/>
                  <a:pt x="145288" y="147574"/>
                </a:cubicBezTo>
                <a:cubicBezTo>
                  <a:pt x="148463" y="150622"/>
                  <a:pt x="152908" y="152527"/>
                  <a:pt x="158750" y="153162"/>
                </a:cubicBezTo>
                <a:lnTo>
                  <a:pt x="158622" y="157099"/>
                </a:lnTo>
                <a:lnTo>
                  <a:pt x="101980" y="154178"/>
                </a:lnTo>
                <a:lnTo>
                  <a:pt x="102234" y="150241"/>
                </a:lnTo>
                <a:cubicBezTo>
                  <a:pt x="107950" y="150241"/>
                  <a:pt x="111886" y="149479"/>
                  <a:pt x="113919" y="147955"/>
                </a:cubicBezTo>
                <a:cubicBezTo>
                  <a:pt x="116077" y="146431"/>
                  <a:pt x="117094" y="144526"/>
                  <a:pt x="117221" y="142240"/>
                </a:cubicBezTo>
                <a:cubicBezTo>
                  <a:pt x="117475" y="139065"/>
                  <a:pt x="116204" y="134112"/>
                  <a:pt x="113791" y="127254"/>
                </a:cubicBezTo>
                <a:lnTo>
                  <a:pt x="106171" y="106172"/>
                </a:lnTo>
                <a:lnTo>
                  <a:pt x="50672" y="103378"/>
                </a:lnTo>
                <a:lnTo>
                  <a:pt x="39751" y="125476"/>
                </a:lnTo>
                <a:cubicBezTo>
                  <a:pt x="37084" y="130937"/>
                  <a:pt x="35686" y="135001"/>
                  <a:pt x="35559" y="137795"/>
                </a:cubicBezTo>
                <a:cubicBezTo>
                  <a:pt x="35433" y="139954"/>
                  <a:pt x="36321" y="141986"/>
                  <a:pt x="38353" y="143637"/>
                </a:cubicBezTo>
                <a:cubicBezTo>
                  <a:pt x="40385" y="145415"/>
                  <a:pt x="44830" y="146812"/>
                  <a:pt x="51689" y="147574"/>
                </a:cubicBezTo>
                <a:lnTo>
                  <a:pt x="51434" y="151511"/>
                </a:lnTo>
                <a:lnTo>
                  <a:pt x="6350" y="149225"/>
                </a:lnTo>
                <a:lnTo>
                  <a:pt x="6477" y="145288"/>
                </a:lnTo>
                <a:cubicBezTo>
                  <a:pt x="12572" y="144526"/>
                  <a:pt x="16509" y="143383"/>
                  <a:pt x="18415" y="141732"/>
                </a:cubicBezTo>
                <a:cubicBezTo>
                  <a:pt x="22097" y="138557"/>
                  <a:pt x="26415" y="131826"/>
                  <a:pt x="31369" y="121793"/>
                </a:cubicBezTo>
                <a:lnTo>
                  <a:pt x="87884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14" name="Freeform 3"/>
          <p:cNvSpPr/>
          <p:nvPr/>
        </p:nvSpPr>
        <p:spPr>
          <a:xfrm>
            <a:off x="4992516" y="1337449"/>
            <a:ext cx="168151" cy="204009"/>
          </a:xfrm>
          <a:custGeom>
            <a:avLst/>
            <a:gdLst>
              <a:gd name="connsiteX0" fmla="*/ 16891 w 171577"/>
              <a:gd name="connsiteY0" fmla="*/ 6350 h 208153"/>
              <a:gd name="connsiteX1" fmla="*/ 78613 w 171577"/>
              <a:gd name="connsiteY1" fmla="*/ 11049 h 208153"/>
              <a:gd name="connsiteX2" fmla="*/ 78359 w 171577"/>
              <a:gd name="connsiteY2" fmla="*/ 14859 h 208153"/>
              <a:gd name="connsiteX3" fmla="*/ 60960 w 171577"/>
              <a:gd name="connsiteY3" fmla="*/ 17907 h 208153"/>
              <a:gd name="connsiteX4" fmla="*/ 56007 w 171577"/>
              <a:gd name="connsiteY4" fmla="*/ 35560 h 208153"/>
              <a:gd name="connsiteX5" fmla="*/ 48895 w 171577"/>
              <a:gd name="connsiteY5" fmla="*/ 130937 h 208153"/>
              <a:gd name="connsiteX6" fmla="*/ 49148 w 171577"/>
              <a:gd name="connsiteY6" fmla="*/ 143002 h 208153"/>
              <a:gd name="connsiteX7" fmla="*/ 61722 w 171577"/>
              <a:gd name="connsiteY7" fmla="*/ 145796 h 208153"/>
              <a:gd name="connsiteX8" fmla="*/ 98679 w 171577"/>
              <a:gd name="connsiteY8" fmla="*/ 148590 h 208153"/>
              <a:gd name="connsiteX9" fmla="*/ 113284 w 171577"/>
              <a:gd name="connsiteY9" fmla="*/ 147574 h 208153"/>
              <a:gd name="connsiteX10" fmla="*/ 115442 w 171577"/>
              <a:gd name="connsiteY10" fmla="*/ 133858 h 208153"/>
              <a:gd name="connsiteX11" fmla="*/ 122428 w 171577"/>
              <a:gd name="connsiteY11" fmla="*/ 40513 h 208153"/>
              <a:gd name="connsiteX12" fmla="*/ 120015 w 171577"/>
              <a:gd name="connsiteY12" fmla="*/ 22225 h 208153"/>
              <a:gd name="connsiteX13" fmla="*/ 103123 w 171577"/>
              <a:gd name="connsiteY13" fmla="*/ 16763 h 208153"/>
              <a:gd name="connsiteX14" fmla="*/ 103378 w 171577"/>
              <a:gd name="connsiteY14" fmla="*/ 12827 h 208153"/>
              <a:gd name="connsiteX15" fmla="*/ 165227 w 171577"/>
              <a:gd name="connsiteY15" fmla="*/ 17399 h 208153"/>
              <a:gd name="connsiteX16" fmla="*/ 164972 w 171577"/>
              <a:gd name="connsiteY16" fmla="*/ 21336 h 208153"/>
              <a:gd name="connsiteX17" fmla="*/ 147701 w 171577"/>
              <a:gd name="connsiteY17" fmla="*/ 24257 h 208153"/>
              <a:gd name="connsiteX18" fmla="*/ 142621 w 171577"/>
              <a:gd name="connsiteY18" fmla="*/ 42037 h 208153"/>
              <a:gd name="connsiteX19" fmla="*/ 135890 w 171577"/>
              <a:gd name="connsiteY19" fmla="*/ 133350 h 208153"/>
              <a:gd name="connsiteX20" fmla="*/ 137922 w 171577"/>
              <a:gd name="connsiteY20" fmla="*/ 151765 h 208153"/>
              <a:gd name="connsiteX21" fmla="*/ 154559 w 171577"/>
              <a:gd name="connsiteY21" fmla="*/ 156718 h 208153"/>
              <a:gd name="connsiteX22" fmla="*/ 151257 w 171577"/>
              <a:gd name="connsiteY22" fmla="*/ 201802 h 208153"/>
              <a:gd name="connsiteX23" fmla="*/ 147701 w 171577"/>
              <a:gd name="connsiteY23" fmla="*/ 201549 h 208153"/>
              <a:gd name="connsiteX24" fmla="*/ 136016 w 171577"/>
              <a:gd name="connsiteY24" fmla="*/ 171704 h 208153"/>
              <a:gd name="connsiteX25" fmla="*/ 103378 w 171577"/>
              <a:gd name="connsiteY25" fmla="*/ 156845 h 208153"/>
              <a:gd name="connsiteX26" fmla="*/ 6350 w 171577"/>
              <a:gd name="connsiteY26" fmla="*/ 149606 h 208153"/>
              <a:gd name="connsiteX27" fmla="*/ 6604 w 171577"/>
              <a:gd name="connsiteY27" fmla="*/ 145669 h 208153"/>
              <a:gd name="connsiteX28" fmla="*/ 23876 w 171577"/>
              <a:gd name="connsiteY28" fmla="*/ 142748 h 208153"/>
              <a:gd name="connsiteX29" fmla="*/ 28955 w 171577"/>
              <a:gd name="connsiteY29" fmla="*/ 125095 h 208153"/>
              <a:gd name="connsiteX30" fmla="*/ 35686 w 171577"/>
              <a:gd name="connsiteY30" fmla="*/ 34036 h 208153"/>
              <a:gd name="connsiteX31" fmla="*/ 33273 w 171577"/>
              <a:gd name="connsiteY31" fmla="*/ 15748 h 208153"/>
              <a:gd name="connsiteX32" fmla="*/ 16636 w 171577"/>
              <a:gd name="connsiteY32" fmla="*/ 10287 h 208153"/>
              <a:gd name="connsiteX33" fmla="*/ 16891 w 171577"/>
              <a:gd name="connsiteY33" fmla="*/ 6350 h 20815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</a:cxnLst>
            <a:rect l="l" t="t" r="r" b="b"/>
            <a:pathLst>
              <a:path w="171577" h="208153">
                <a:moveTo>
                  <a:pt x="16891" y="6350"/>
                </a:moveTo>
                <a:lnTo>
                  <a:pt x="78613" y="11049"/>
                </a:lnTo>
                <a:lnTo>
                  <a:pt x="78359" y="14859"/>
                </a:lnTo>
                <a:cubicBezTo>
                  <a:pt x="69469" y="14477"/>
                  <a:pt x="63627" y="15494"/>
                  <a:pt x="60960" y="17907"/>
                </a:cubicBezTo>
                <a:cubicBezTo>
                  <a:pt x="58292" y="20193"/>
                  <a:pt x="56641" y="26162"/>
                  <a:pt x="56007" y="35560"/>
                </a:cubicBezTo>
                <a:lnTo>
                  <a:pt x="48895" y="130937"/>
                </a:lnTo>
                <a:cubicBezTo>
                  <a:pt x="48386" y="137668"/>
                  <a:pt x="48514" y="141732"/>
                  <a:pt x="49148" y="143002"/>
                </a:cubicBezTo>
                <a:cubicBezTo>
                  <a:pt x="49784" y="144272"/>
                  <a:pt x="53975" y="145288"/>
                  <a:pt x="61722" y="145796"/>
                </a:cubicBezTo>
                <a:lnTo>
                  <a:pt x="98679" y="148590"/>
                </a:lnTo>
                <a:cubicBezTo>
                  <a:pt x="107696" y="149225"/>
                  <a:pt x="112522" y="148971"/>
                  <a:pt x="113284" y="147574"/>
                </a:cubicBezTo>
                <a:cubicBezTo>
                  <a:pt x="114172" y="146304"/>
                  <a:pt x="114808" y="141732"/>
                  <a:pt x="115442" y="133858"/>
                </a:cubicBezTo>
                <a:lnTo>
                  <a:pt x="122428" y="40513"/>
                </a:lnTo>
                <a:cubicBezTo>
                  <a:pt x="123063" y="30988"/>
                  <a:pt x="122301" y="25019"/>
                  <a:pt x="120015" y="22225"/>
                </a:cubicBezTo>
                <a:cubicBezTo>
                  <a:pt x="117729" y="19558"/>
                  <a:pt x="112141" y="17652"/>
                  <a:pt x="103123" y="16763"/>
                </a:cubicBezTo>
                <a:lnTo>
                  <a:pt x="103378" y="12827"/>
                </a:lnTo>
                <a:lnTo>
                  <a:pt x="165227" y="17399"/>
                </a:lnTo>
                <a:lnTo>
                  <a:pt x="164972" y="21336"/>
                </a:lnTo>
                <a:cubicBezTo>
                  <a:pt x="156083" y="20955"/>
                  <a:pt x="150367" y="21971"/>
                  <a:pt x="147701" y="24257"/>
                </a:cubicBezTo>
                <a:cubicBezTo>
                  <a:pt x="145034" y="26670"/>
                  <a:pt x="143383" y="32512"/>
                  <a:pt x="142621" y="42037"/>
                </a:cubicBezTo>
                <a:lnTo>
                  <a:pt x="135890" y="133350"/>
                </a:lnTo>
                <a:cubicBezTo>
                  <a:pt x="135128" y="143129"/>
                  <a:pt x="135763" y="149225"/>
                  <a:pt x="137922" y="151765"/>
                </a:cubicBezTo>
                <a:cubicBezTo>
                  <a:pt x="140080" y="154432"/>
                  <a:pt x="145541" y="155956"/>
                  <a:pt x="154559" y="156718"/>
                </a:cubicBezTo>
                <a:lnTo>
                  <a:pt x="151257" y="201802"/>
                </a:lnTo>
                <a:lnTo>
                  <a:pt x="147701" y="201549"/>
                </a:lnTo>
                <a:cubicBezTo>
                  <a:pt x="146558" y="190500"/>
                  <a:pt x="142621" y="180594"/>
                  <a:pt x="136016" y="171704"/>
                </a:cubicBezTo>
                <a:cubicBezTo>
                  <a:pt x="129413" y="162941"/>
                  <a:pt x="118617" y="157861"/>
                  <a:pt x="103378" y="156845"/>
                </a:cubicBezTo>
                <a:lnTo>
                  <a:pt x="6350" y="149606"/>
                </a:lnTo>
                <a:lnTo>
                  <a:pt x="6604" y="145669"/>
                </a:lnTo>
                <a:cubicBezTo>
                  <a:pt x="15494" y="146050"/>
                  <a:pt x="21209" y="145034"/>
                  <a:pt x="23876" y="142748"/>
                </a:cubicBezTo>
                <a:cubicBezTo>
                  <a:pt x="26542" y="140335"/>
                  <a:pt x="28194" y="134493"/>
                  <a:pt x="28955" y="125095"/>
                </a:cubicBezTo>
                <a:lnTo>
                  <a:pt x="35686" y="34036"/>
                </a:lnTo>
                <a:cubicBezTo>
                  <a:pt x="36448" y="24638"/>
                  <a:pt x="35560" y="18542"/>
                  <a:pt x="33273" y="15748"/>
                </a:cubicBezTo>
                <a:cubicBezTo>
                  <a:pt x="31115" y="13081"/>
                  <a:pt x="25527" y="11302"/>
                  <a:pt x="16636" y="10287"/>
                </a:cubicBezTo>
                <a:lnTo>
                  <a:pt x="16891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15" name="Freeform 3"/>
          <p:cNvSpPr/>
          <p:nvPr/>
        </p:nvSpPr>
        <p:spPr>
          <a:xfrm>
            <a:off x="5144364" y="1349024"/>
            <a:ext cx="171262" cy="166792"/>
          </a:xfrm>
          <a:custGeom>
            <a:avLst/>
            <a:gdLst>
              <a:gd name="connsiteX0" fmla="*/ 20320 w 174751"/>
              <a:gd name="connsiteY0" fmla="*/ 6350 h 170180"/>
              <a:gd name="connsiteX1" fmla="*/ 82041 w 174751"/>
              <a:gd name="connsiteY1" fmla="*/ 12446 h 170180"/>
              <a:gd name="connsiteX2" fmla="*/ 81660 w 174751"/>
              <a:gd name="connsiteY2" fmla="*/ 16383 h 170180"/>
              <a:gd name="connsiteX3" fmla="*/ 64134 w 174751"/>
              <a:gd name="connsiteY3" fmla="*/ 18923 h 170180"/>
              <a:gd name="connsiteX4" fmla="*/ 58673 w 174751"/>
              <a:gd name="connsiteY4" fmla="*/ 36449 h 170180"/>
              <a:gd name="connsiteX5" fmla="*/ 50545 w 174751"/>
              <a:gd name="connsiteY5" fmla="*/ 118745 h 170180"/>
              <a:gd name="connsiteX6" fmla="*/ 125221 w 174751"/>
              <a:gd name="connsiteY6" fmla="*/ 40513 h 170180"/>
              <a:gd name="connsiteX7" fmla="*/ 122682 w 174751"/>
              <a:gd name="connsiteY7" fmla="*/ 23876 h 170180"/>
              <a:gd name="connsiteX8" fmla="*/ 106171 w 174751"/>
              <a:gd name="connsiteY8" fmla="*/ 18796 h 170180"/>
              <a:gd name="connsiteX9" fmla="*/ 106552 w 174751"/>
              <a:gd name="connsiteY9" fmla="*/ 14859 h 170180"/>
              <a:gd name="connsiteX10" fmla="*/ 168401 w 174751"/>
              <a:gd name="connsiteY10" fmla="*/ 20955 h 170180"/>
              <a:gd name="connsiteX11" fmla="*/ 168020 w 174751"/>
              <a:gd name="connsiteY11" fmla="*/ 24891 h 170180"/>
              <a:gd name="connsiteX12" fmla="*/ 150621 w 174751"/>
              <a:gd name="connsiteY12" fmla="*/ 27432 h 170180"/>
              <a:gd name="connsiteX13" fmla="*/ 145160 w 174751"/>
              <a:gd name="connsiteY13" fmla="*/ 44958 h 170180"/>
              <a:gd name="connsiteX14" fmla="*/ 136270 w 174751"/>
              <a:gd name="connsiteY14" fmla="*/ 135763 h 170180"/>
              <a:gd name="connsiteX15" fmla="*/ 138176 w 174751"/>
              <a:gd name="connsiteY15" fmla="*/ 154051 h 170180"/>
              <a:gd name="connsiteX16" fmla="*/ 154685 w 174751"/>
              <a:gd name="connsiteY16" fmla="*/ 159893 h 170180"/>
              <a:gd name="connsiteX17" fmla="*/ 154304 w 174751"/>
              <a:gd name="connsiteY17" fmla="*/ 163830 h 170180"/>
              <a:gd name="connsiteX18" fmla="*/ 92455 w 174751"/>
              <a:gd name="connsiteY18" fmla="*/ 157734 h 170180"/>
              <a:gd name="connsiteX19" fmla="*/ 92836 w 174751"/>
              <a:gd name="connsiteY19" fmla="*/ 153797 h 170180"/>
              <a:gd name="connsiteX20" fmla="*/ 110616 w 174751"/>
              <a:gd name="connsiteY20" fmla="*/ 151257 h 170180"/>
              <a:gd name="connsiteX21" fmla="*/ 116077 w 174751"/>
              <a:gd name="connsiteY21" fmla="*/ 133731 h 170180"/>
              <a:gd name="connsiteX22" fmla="*/ 124078 w 174751"/>
              <a:gd name="connsiteY22" fmla="*/ 51816 h 170180"/>
              <a:gd name="connsiteX23" fmla="*/ 49402 w 174751"/>
              <a:gd name="connsiteY23" fmla="*/ 130175 h 170180"/>
              <a:gd name="connsiteX24" fmla="*/ 49402 w 174751"/>
              <a:gd name="connsiteY24" fmla="*/ 142621 h 170180"/>
              <a:gd name="connsiteX25" fmla="*/ 54101 w 174751"/>
              <a:gd name="connsiteY25" fmla="*/ 147955 h 170180"/>
              <a:gd name="connsiteX26" fmla="*/ 68326 w 174751"/>
              <a:gd name="connsiteY26" fmla="*/ 151384 h 170180"/>
              <a:gd name="connsiteX27" fmla="*/ 67945 w 174751"/>
              <a:gd name="connsiteY27" fmla="*/ 155321 h 170180"/>
              <a:gd name="connsiteX28" fmla="*/ 6350 w 174751"/>
              <a:gd name="connsiteY28" fmla="*/ 149225 h 170180"/>
              <a:gd name="connsiteX29" fmla="*/ 6730 w 174751"/>
              <a:gd name="connsiteY29" fmla="*/ 145415 h 170180"/>
              <a:gd name="connsiteX30" fmla="*/ 24002 w 174751"/>
              <a:gd name="connsiteY30" fmla="*/ 142875 h 170180"/>
              <a:gd name="connsiteX31" fmla="*/ 29464 w 174751"/>
              <a:gd name="connsiteY31" fmla="*/ 125222 h 170180"/>
              <a:gd name="connsiteX32" fmla="*/ 38480 w 174751"/>
              <a:gd name="connsiteY32" fmla="*/ 34416 h 170180"/>
              <a:gd name="connsiteX33" fmla="*/ 36576 w 174751"/>
              <a:gd name="connsiteY33" fmla="*/ 16129 h 170180"/>
              <a:gd name="connsiteX34" fmla="*/ 19939 w 174751"/>
              <a:gd name="connsiteY34" fmla="*/ 10287 h 170180"/>
              <a:gd name="connsiteX35" fmla="*/ 20320 w 174751"/>
              <a:gd name="connsiteY35" fmla="*/ 6350 h 17018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</a:cxnLst>
            <a:rect l="l" t="t" r="r" b="b"/>
            <a:pathLst>
              <a:path w="174751" h="170180">
                <a:moveTo>
                  <a:pt x="20320" y="6350"/>
                </a:moveTo>
                <a:lnTo>
                  <a:pt x="82041" y="12446"/>
                </a:lnTo>
                <a:lnTo>
                  <a:pt x="81660" y="16383"/>
                </a:lnTo>
                <a:cubicBezTo>
                  <a:pt x="72644" y="15748"/>
                  <a:pt x="66801" y="16637"/>
                  <a:pt x="64134" y="18923"/>
                </a:cubicBezTo>
                <a:cubicBezTo>
                  <a:pt x="61467" y="21209"/>
                  <a:pt x="59563" y="27051"/>
                  <a:pt x="58673" y="36449"/>
                </a:cubicBezTo>
                <a:lnTo>
                  <a:pt x="50545" y="118745"/>
                </a:lnTo>
                <a:lnTo>
                  <a:pt x="125221" y="40513"/>
                </a:lnTo>
                <a:cubicBezTo>
                  <a:pt x="125983" y="32004"/>
                  <a:pt x="125221" y="26416"/>
                  <a:pt x="122682" y="23876"/>
                </a:cubicBezTo>
                <a:cubicBezTo>
                  <a:pt x="120014" y="21336"/>
                  <a:pt x="114553" y="19558"/>
                  <a:pt x="106171" y="18796"/>
                </a:cubicBezTo>
                <a:lnTo>
                  <a:pt x="106552" y="14859"/>
                </a:lnTo>
                <a:lnTo>
                  <a:pt x="168401" y="20955"/>
                </a:lnTo>
                <a:lnTo>
                  <a:pt x="168020" y="24891"/>
                </a:lnTo>
                <a:cubicBezTo>
                  <a:pt x="159130" y="24257"/>
                  <a:pt x="153289" y="25146"/>
                  <a:pt x="150621" y="27432"/>
                </a:cubicBezTo>
                <a:cubicBezTo>
                  <a:pt x="147954" y="29718"/>
                  <a:pt x="146050" y="35560"/>
                  <a:pt x="145160" y="44958"/>
                </a:cubicBezTo>
                <a:lnTo>
                  <a:pt x="136270" y="135763"/>
                </a:lnTo>
                <a:cubicBezTo>
                  <a:pt x="135382" y="145161"/>
                  <a:pt x="136016" y="151257"/>
                  <a:pt x="138176" y="154051"/>
                </a:cubicBezTo>
                <a:cubicBezTo>
                  <a:pt x="140334" y="156845"/>
                  <a:pt x="145922" y="158750"/>
                  <a:pt x="154685" y="159893"/>
                </a:cubicBezTo>
                <a:lnTo>
                  <a:pt x="154304" y="163830"/>
                </a:lnTo>
                <a:lnTo>
                  <a:pt x="92455" y="157734"/>
                </a:lnTo>
                <a:lnTo>
                  <a:pt x="92836" y="153797"/>
                </a:lnTo>
                <a:cubicBezTo>
                  <a:pt x="101980" y="154432"/>
                  <a:pt x="107822" y="153543"/>
                  <a:pt x="110616" y="151257"/>
                </a:cubicBezTo>
                <a:cubicBezTo>
                  <a:pt x="113283" y="148971"/>
                  <a:pt x="115061" y="143129"/>
                  <a:pt x="116077" y="133731"/>
                </a:cubicBezTo>
                <a:lnTo>
                  <a:pt x="124078" y="51816"/>
                </a:lnTo>
                <a:lnTo>
                  <a:pt x="49402" y="130175"/>
                </a:lnTo>
                <a:cubicBezTo>
                  <a:pt x="48895" y="136271"/>
                  <a:pt x="48895" y="140462"/>
                  <a:pt x="49402" y="142621"/>
                </a:cubicBezTo>
                <a:cubicBezTo>
                  <a:pt x="50038" y="144780"/>
                  <a:pt x="51561" y="146558"/>
                  <a:pt x="54101" y="147955"/>
                </a:cubicBezTo>
                <a:cubicBezTo>
                  <a:pt x="56769" y="149479"/>
                  <a:pt x="61467" y="150622"/>
                  <a:pt x="68326" y="151384"/>
                </a:cubicBezTo>
                <a:lnTo>
                  <a:pt x="67945" y="155321"/>
                </a:lnTo>
                <a:lnTo>
                  <a:pt x="6350" y="149225"/>
                </a:lnTo>
                <a:lnTo>
                  <a:pt x="6730" y="145415"/>
                </a:lnTo>
                <a:cubicBezTo>
                  <a:pt x="15620" y="145923"/>
                  <a:pt x="21335" y="145161"/>
                  <a:pt x="24002" y="142875"/>
                </a:cubicBezTo>
                <a:cubicBezTo>
                  <a:pt x="26796" y="140588"/>
                  <a:pt x="28575" y="134747"/>
                  <a:pt x="29464" y="125222"/>
                </a:cubicBezTo>
                <a:lnTo>
                  <a:pt x="38480" y="34416"/>
                </a:lnTo>
                <a:cubicBezTo>
                  <a:pt x="39370" y="25019"/>
                  <a:pt x="38734" y="18923"/>
                  <a:pt x="36576" y="16129"/>
                </a:cubicBezTo>
                <a:cubicBezTo>
                  <a:pt x="34289" y="13462"/>
                  <a:pt x="28828" y="11430"/>
                  <a:pt x="19939" y="10287"/>
                </a:cubicBezTo>
                <a:lnTo>
                  <a:pt x="20320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16" name="Freeform 3"/>
          <p:cNvSpPr/>
          <p:nvPr/>
        </p:nvSpPr>
        <p:spPr>
          <a:xfrm>
            <a:off x="5355953" y="1381762"/>
            <a:ext cx="61859" cy="74433"/>
          </a:xfrm>
          <a:custGeom>
            <a:avLst/>
            <a:gdLst>
              <a:gd name="connsiteX0" fmla="*/ 40513 w 63119"/>
              <a:gd name="connsiteY0" fmla="*/ 6350 h 75945"/>
              <a:gd name="connsiteX1" fmla="*/ 17271 w 63119"/>
              <a:gd name="connsiteY1" fmla="*/ 11937 h 75945"/>
              <a:gd name="connsiteX2" fmla="*/ 6350 w 63119"/>
              <a:gd name="connsiteY2" fmla="*/ 32638 h 75945"/>
              <a:gd name="connsiteX3" fmla="*/ 13842 w 63119"/>
              <a:gd name="connsiteY3" fmla="*/ 56387 h 75945"/>
              <a:gd name="connsiteX4" fmla="*/ 43560 w 63119"/>
              <a:gd name="connsiteY4" fmla="*/ 68961 h 75945"/>
              <a:gd name="connsiteX5" fmla="*/ 45973 w 63119"/>
              <a:gd name="connsiteY5" fmla="*/ 69214 h 75945"/>
              <a:gd name="connsiteX6" fmla="*/ 49402 w 63119"/>
              <a:gd name="connsiteY6" fmla="*/ 69595 h 75945"/>
              <a:gd name="connsiteX7" fmla="*/ 56769 w 63119"/>
              <a:gd name="connsiteY7" fmla="*/ 10286 h 75945"/>
              <a:gd name="connsiteX8" fmla="*/ 40513 w 63119"/>
              <a:gd name="connsiteY8" fmla="*/ 6350 h 7594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</a:cxnLst>
            <a:rect l="l" t="t" r="r" b="b"/>
            <a:pathLst>
              <a:path w="63119" h="75945">
                <a:moveTo>
                  <a:pt x="40513" y="6350"/>
                </a:moveTo>
                <a:cubicBezTo>
                  <a:pt x="31241" y="5206"/>
                  <a:pt x="23621" y="7111"/>
                  <a:pt x="17271" y="11937"/>
                </a:cubicBezTo>
                <a:cubicBezTo>
                  <a:pt x="11048" y="16890"/>
                  <a:pt x="7365" y="23748"/>
                  <a:pt x="6350" y="32638"/>
                </a:cubicBezTo>
                <a:cubicBezTo>
                  <a:pt x="5207" y="41783"/>
                  <a:pt x="7746" y="49656"/>
                  <a:pt x="13842" y="56387"/>
                </a:cubicBezTo>
                <a:cubicBezTo>
                  <a:pt x="20065" y="63119"/>
                  <a:pt x="29971" y="67309"/>
                  <a:pt x="43560" y="68961"/>
                </a:cubicBezTo>
                <a:cubicBezTo>
                  <a:pt x="44195" y="69087"/>
                  <a:pt x="44957" y="69087"/>
                  <a:pt x="45973" y="69214"/>
                </a:cubicBezTo>
                <a:cubicBezTo>
                  <a:pt x="46989" y="69341"/>
                  <a:pt x="48132" y="69469"/>
                  <a:pt x="49402" y="69595"/>
                </a:cubicBezTo>
                <a:lnTo>
                  <a:pt x="56769" y="10286"/>
                </a:lnTo>
                <a:cubicBezTo>
                  <a:pt x="49910" y="8127"/>
                  <a:pt x="44576" y="6858"/>
                  <a:pt x="40513" y="6350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17" name="Freeform 3"/>
          <p:cNvSpPr/>
          <p:nvPr/>
        </p:nvSpPr>
        <p:spPr>
          <a:xfrm>
            <a:off x="5290111" y="1373671"/>
            <a:ext cx="168649" cy="159198"/>
          </a:xfrm>
          <a:custGeom>
            <a:avLst/>
            <a:gdLst>
              <a:gd name="connsiteX0" fmla="*/ 113791 w 172085"/>
              <a:gd name="connsiteY0" fmla="*/ 7238 h 162432"/>
              <a:gd name="connsiteX1" fmla="*/ 165734 w 172085"/>
              <a:gd name="connsiteY1" fmla="*/ 13588 h 162432"/>
              <a:gd name="connsiteX2" fmla="*/ 165227 w 172085"/>
              <a:gd name="connsiteY2" fmla="*/ 17525 h 162432"/>
              <a:gd name="connsiteX3" fmla="*/ 159892 w 172085"/>
              <a:gd name="connsiteY3" fmla="*/ 16891 h 162432"/>
              <a:gd name="connsiteX4" fmla="*/ 147065 w 172085"/>
              <a:gd name="connsiteY4" fmla="*/ 19938 h 162432"/>
              <a:gd name="connsiteX5" fmla="*/ 142113 w 172085"/>
              <a:gd name="connsiteY5" fmla="*/ 36322 h 162432"/>
              <a:gd name="connsiteX6" fmla="*/ 130809 w 172085"/>
              <a:gd name="connsiteY6" fmla="*/ 128397 h 162432"/>
              <a:gd name="connsiteX7" fmla="*/ 131064 w 172085"/>
              <a:gd name="connsiteY7" fmla="*/ 144017 h 162432"/>
              <a:gd name="connsiteX8" fmla="*/ 143255 w 172085"/>
              <a:gd name="connsiteY8" fmla="*/ 151511 h 162432"/>
              <a:gd name="connsiteX9" fmla="*/ 148590 w 172085"/>
              <a:gd name="connsiteY9" fmla="*/ 152145 h 162432"/>
              <a:gd name="connsiteX10" fmla="*/ 148209 w 172085"/>
              <a:gd name="connsiteY10" fmla="*/ 156083 h 162432"/>
              <a:gd name="connsiteX11" fmla="*/ 87122 w 172085"/>
              <a:gd name="connsiteY11" fmla="*/ 148589 h 162432"/>
              <a:gd name="connsiteX12" fmla="*/ 87629 w 172085"/>
              <a:gd name="connsiteY12" fmla="*/ 144652 h 162432"/>
              <a:gd name="connsiteX13" fmla="*/ 93090 w 172085"/>
              <a:gd name="connsiteY13" fmla="*/ 145414 h 162432"/>
              <a:gd name="connsiteX14" fmla="*/ 105664 w 172085"/>
              <a:gd name="connsiteY14" fmla="*/ 142239 h 162432"/>
              <a:gd name="connsiteX15" fmla="*/ 110744 w 172085"/>
              <a:gd name="connsiteY15" fmla="*/ 125856 h 162432"/>
              <a:gd name="connsiteX16" fmla="*/ 115823 w 172085"/>
              <a:gd name="connsiteY16" fmla="*/ 84455 h 162432"/>
              <a:gd name="connsiteX17" fmla="*/ 112522 w 172085"/>
              <a:gd name="connsiteY17" fmla="*/ 84200 h 162432"/>
              <a:gd name="connsiteX18" fmla="*/ 109601 w 172085"/>
              <a:gd name="connsiteY18" fmla="*/ 83947 h 162432"/>
              <a:gd name="connsiteX19" fmla="*/ 100838 w 172085"/>
              <a:gd name="connsiteY19" fmla="*/ 82677 h 162432"/>
              <a:gd name="connsiteX20" fmla="*/ 44450 w 172085"/>
              <a:gd name="connsiteY20" fmla="*/ 143383 h 162432"/>
              <a:gd name="connsiteX21" fmla="*/ 6350 w 172085"/>
              <a:gd name="connsiteY21" fmla="*/ 138683 h 162432"/>
              <a:gd name="connsiteX22" fmla="*/ 6858 w 172085"/>
              <a:gd name="connsiteY22" fmla="*/ 134747 h 162432"/>
              <a:gd name="connsiteX23" fmla="*/ 26542 w 172085"/>
              <a:gd name="connsiteY23" fmla="*/ 131191 h 162432"/>
              <a:gd name="connsiteX24" fmla="*/ 46101 w 172085"/>
              <a:gd name="connsiteY24" fmla="*/ 114680 h 162432"/>
              <a:gd name="connsiteX25" fmla="*/ 80645 w 172085"/>
              <a:gd name="connsiteY25" fmla="*/ 77342 h 162432"/>
              <a:gd name="connsiteX26" fmla="*/ 55753 w 172085"/>
              <a:gd name="connsiteY26" fmla="*/ 60452 h 162432"/>
              <a:gd name="connsiteX27" fmla="*/ 50038 w 172085"/>
              <a:gd name="connsiteY27" fmla="*/ 36575 h 162432"/>
              <a:gd name="connsiteX28" fmla="*/ 60071 w 172085"/>
              <a:gd name="connsiteY28" fmla="*/ 16383 h 162432"/>
              <a:gd name="connsiteX29" fmla="*/ 79883 w 172085"/>
              <a:gd name="connsiteY29" fmla="*/ 6350 h 162432"/>
              <a:gd name="connsiteX30" fmla="*/ 113791 w 172085"/>
              <a:gd name="connsiteY30" fmla="*/ 7238 h 162432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</a:cxnLst>
            <a:rect l="l" t="t" r="r" b="b"/>
            <a:pathLst>
              <a:path w="172085" h="162432">
                <a:moveTo>
                  <a:pt x="113791" y="7238"/>
                </a:moveTo>
                <a:lnTo>
                  <a:pt x="165734" y="13588"/>
                </a:lnTo>
                <a:lnTo>
                  <a:pt x="165227" y="17525"/>
                </a:lnTo>
                <a:lnTo>
                  <a:pt x="159892" y="16891"/>
                </a:lnTo>
                <a:cubicBezTo>
                  <a:pt x="154432" y="16128"/>
                  <a:pt x="150240" y="17272"/>
                  <a:pt x="147065" y="19938"/>
                </a:cubicBezTo>
                <a:cubicBezTo>
                  <a:pt x="144907" y="21844"/>
                  <a:pt x="143255" y="27305"/>
                  <a:pt x="142113" y="36322"/>
                </a:cubicBezTo>
                <a:lnTo>
                  <a:pt x="130809" y="128397"/>
                </a:lnTo>
                <a:cubicBezTo>
                  <a:pt x="129794" y="136525"/>
                  <a:pt x="129921" y="141731"/>
                  <a:pt x="131064" y="144017"/>
                </a:cubicBezTo>
                <a:cubicBezTo>
                  <a:pt x="133222" y="148336"/>
                  <a:pt x="137286" y="150749"/>
                  <a:pt x="143255" y="151511"/>
                </a:cubicBezTo>
                <a:lnTo>
                  <a:pt x="148590" y="152145"/>
                </a:lnTo>
                <a:lnTo>
                  <a:pt x="148209" y="156083"/>
                </a:lnTo>
                <a:lnTo>
                  <a:pt x="87122" y="148589"/>
                </a:lnTo>
                <a:lnTo>
                  <a:pt x="87629" y="144652"/>
                </a:lnTo>
                <a:lnTo>
                  <a:pt x="93090" y="145414"/>
                </a:lnTo>
                <a:cubicBezTo>
                  <a:pt x="98425" y="146050"/>
                  <a:pt x="102615" y="145033"/>
                  <a:pt x="105664" y="142239"/>
                </a:cubicBezTo>
                <a:cubicBezTo>
                  <a:pt x="107950" y="140335"/>
                  <a:pt x="109601" y="134874"/>
                  <a:pt x="110744" y="125856"/>
                </a:cubicBezTo>
                <a:lnTo>
                  <a:pt x="115823" y="84455"/>
                </a:lnTo>
                <a:cubicBezTo>
                  <a:pt x="114680" y="84455"/>
                  <a:pt x="113538" y="84327"/>
                  <a:pt x="112522" y="84200"/>
                </a:cubicBezTo>
                <a:cubicBezTo>
                  <a:pt x="111505" y="84200"/>
                  <a:pt x="110490" y="84074"/>
                  <a:pt x="109601" y="83947"/>
                </a:cubicBezTo>
                <a:cubicBezTo>
                  <a:pt x="107315" y="83692"/>
                  <a:pt x="104394" y="83185"/>
                  <a:pt x="100838" y="82677"/>
                </a:cubicBezTo>
                <a:lnTo>
                  <a:pt x="44450" y="143383"/>
                </a:lnTo>
                <a:lnTo>
                  <a:pt x="6350" y="138683"/>
                </a:lnTo>
                <a:lnTo>
                  <a:pt x="6858" y="134747"/>
                </a:lnTo>
                <a:cubicBezTo>
                  <a:pt x="14732" y="134874"/>
                  <a:pt x="21335" y="133730"/>
                  <a:pt x="26542" y="131191"/>
                </a:cubicBezTo>
                <a:cubicBezTo>
                  <a:pt x="31750" y="128777"/>
                  <a:pt x="38227" y="123189"/>
                  <a:pt x="46101" y="114680"/>
                </a:cubicBezTo>
                <a:lnTo>
                  <a:pt x="80645" y="77342"/>
                </a:lnTo>
                <a:cubicBezTo>
                  <a:pt x="68960" y="73278"/>
                  <a:pt x="60705" y="67563"/>
                  <a:pt x="55753" y="60452"/>
                </a:cubicBezTo>
                <a:cubicBezTo>
                  <a:pt x="50800" y="53339"/>
                  <a:pt x="48895" y="45338"/>
                  <a:pt x="50038" y="36575"/>
                </a:cubicBezTo>
                <a:cubicBezTo>
                  <a:pt x="51053" y="28447"/>
                  <a:pt x="54355" y="21589"/>
                  <a:pt x="60071" y="16383"/>
                </a:cubicBezTo>
                <a:cubicBezTo>
                  <a:pt x="65913" y="11049"/>
                  <a:pt x="72390" y="7747"/>
                  <a:pt x="79883" y="6350"/>
                </a:cubicBezTo>
                <a:cubicBezTo>
                  <a:pt x="87376" y="5080"/>
                  <a:pt x="98678" y="5333"/>
                  <a:pt x="113791" y="7238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18" name="Freeform 3"/>
          <p:cNvSpPr/>
          <p:nvPr/>
        </p:nvSpPr>
        <p:spPr>
          <a:xfrm>
            <a:off x="3770399" y="1684103"/>
            <a:ext cx="82147" cy="222929"/>
          </a:xfrm>
          <a:custGeom>
            <a:avLst/>
            <a:gdLst>
              <a:gd name="connsiteX0" fmla="*/ 62610 w 83820"/>
              <a:gd name="connsiteY0" fmla="*/ 6350 h 227457"/>
              <a:gd name="connsiteX1" fmla="*/ 62992 w 83820"/>
              <a:gd name="connsiteY1" fmla="*/ 11175 h 227457"/>
              <a:gd name="connsiteX2" fmla="*/ 41148 w 83820"/>
              <a:gd name="connsiteY2" fmla="*/ 34289 h 227457"/>
              <a:gd name="connsiteX3" fmla="*/ 29972 w 83820"/>
              <a:gd name="connsiteY3" fmla="*/ 69722 h 227457"/>
              <a:gd name="connsiteX4" fmla="*/ 28448 w 83820"/>
              <a:gd name="connsiteY4" fmla="*/ 113664 h 227457"/>
              <a:gd name="connsiteX5" fmla="*/ 35305 w 83820"/>
              <a:gd name="connsiteY5" fmla="*/ 158369 h 227457"/>
              <a:gd name="connsiteX6" fmla="*/ 44323 w 83820"/>
              <a:gd name="connsiteY6" fmla="*/ 183388 h 227457"/>
              <a:gd name="connsiteX7" fmla="*/ 57150 w 83820"/>
              <a:gd name="connsiteY7" fmla="*/ 201167 h 227457"/>
              <a:gd name="connsiteX8" fmla="*/ 77216 w 83820"/>
              <a:gd name="connsiteY8" fmla="*/ 216788 h 227457"/>
              <a:gd name="connsiteX9" fmla="*/ 77470 w 83820"/>
              <a:gd name="connsiteY9" fmla="*/ 221107 h 227457"/>
              <a:gd name="connsiteX10" fmla="*/ 46990 w 83820"/>
              <a:gd name="connsiteY10" fmla="*/ 202564 h 227457"/>
              <a:gd name="connsiteX11" fmla="*/ 18669 w 83820"/>
              <a:gd name="connsiteY11" fmla="*/ 164845 h 227457"/>
              <a:gd name="connsiteX12" fmla="*/ 6350 w 83820"/>
              <a:gd name="connsiteY12" fmla="*/ 118236 h 227457"/>
              <a:gd name="connsiteX13" fmla="*/ 19558 w 83820"/>
              <a:gd name="connsiteY13" fmla="*/ 51688 h 227457"/>
              <a:gd name="connsiteX14" fmla="*/ 62610 w 83820"/>
              <a:gd name="connsiteY14" fmla="*/ 6350 h 22745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</a:cxnLst>
            <a:rect l="l" t="t" r="r" b="b"/>
            <a:pathLst>
              <a:path w="83820" h="227457">
                <a:moveTo>
                  <a:pt x="62610" y="6350"/>
                </a:moveTo>
                <a:lnTo>
                  <a:pt x="62992" y="11175"/>
                </a:lnTo>
                <a:cubicBezTo>
                  <a:pt x="53848" y="17144"/>
                  <a:pt x="46609" y="24764"/>
                  <a:pt x="41148" y="34289"/>
                </a:cubicBezTo>
                <a:cubicBezTo>
                  <a:pt x="35686" y="43814"/>
                  <a:pt x="32004" y="55625"/>
                  <a:pt x="29972" y="69722"/>
                </a:cubicBezTo>
                <a:cubicBezTo>
                  <a:pt x="27813" y="83947"/>
                  <a:pt x="27432" y="98551"/>
                  <a:pt x="28448" y="113664"/>
                </a:cubicBezTo>
                <a:cubicBezTo>
                  <a:pt x="29591" y="130175"/>
                  <a:pt x="31877" y="145033"/>
                  <a:pt x="35305" y="158369"/>
                </a:cubicBezTo>
                <a:cubicBezTo>
                  <a:pt x="38100" y="168782"/>
                  <a:pt x="41148" y="177164"/>
                  <a:pt x="44323" y="183388"/>
                </a:cubicBezTo>
                <a:cubicBezTo>
                  <a:pt x="47625" y="189610"/>
                  <a:pt x="51942" y="195579"/>
                  <a:pt x="57150" y="201167"/>
                </a:cubicBezTo>
                <a:cubicBezTo>
                  <a:pt x="62357" y="206755"/>
                  <a:pt x="69088" y="211963"/>
                  <a:pt x="77216" y="216788"/>
                </a:cubicBezTo>
                <a:lnTo>
                  <a:pt x="77470" y="221107"/>
                </a:lnTo>
                <a:cubicBezTo>
                  <a:pt x="65404" y="216026"/>
                  <a:pt x="55245" y="209804"/>
                  <a:pt x="46990" y="202564"/>
                </a:cubicBezTo>
                <a:cubicBezTo>
                  <a:pt x="35179" y="192150"/>
                  <a:pt x="25654" y="179577"/>
                  <a:pt x="18669" y="164845"/>
                </a:cubicBezTo>
                <a:cubicBezTo>
                  <a:pt x="11557" y="150113"/>
                  <a:pt x="7492" y="134619"/>
                  <a:pt x="6350" y="118236"/>
                </a:cubicBezTo>
                <a:cubicBezTo>
                  <a:pt x="4698" y="94360"/>
                  <a:pt x="9144" y="72263"/>
                  <a:pt x="19558" y="51688"/>
                </a:cubicBezTo>
                <a:cubicBezTo>
                  <a:pt x="29972" y="31241"/>
                  <a:pt x="44323" y="16129"/>
                  <a:pt x="62610" y="6350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19" name="Freeform 3"/>
          <p:cNvSpPr/>
          <p:nvPr/>
        </p:nvSpPr>
        <p:spPr>
          <a:xfrm>
            <a:off x="3841096" y="1733892"/>
            <a:ext cx="132057" cy="122729"/>
          </a:xfrm>
          <a:custGeom>
            <a:avLst/>
            <a:gdLst>
              <a:gd name="connsiteX0" fmla="*/ 6350 w 134747"/>
              <a:gd name="connsiteY0" fmla="*/ 13080 h 125222"/>
              <a:gd name="connsiteX1" fmla="*/ 57531 w 134747"/>
              <a:gd name="connsiteY1" fmla="*/ 10160 h 125222"/>
              <a:gd name="connsiteX2" fmla="*/ 57785 w 134747"/>
              <a:gd name="connsiteY2" fmla="*/ 14477 h 125222"/>
              <a:gd name="connsiteX3" fmla="*/ 47371 w 134747"/>
              <a:gd name="connsiteY3" fmla="*/ 16763 h 125222"/>
              <a:gd name="connsiteX4" fmla="*/ 43180 w 134747"/>
              <a:gd name="connsiteY4" fmla="*/ 21716 h 125222"/>
              <a:gd name="connsiteX5" fmla="*/ 42926 w 134747"/>
              <a:gd name="connsiteY5" fmla="*/ 35941 h 125222"/>
              <a:gd name="connsiteX6" fmla="*/ 44196 w 134747"/>
              <a:gd name="connsiteY6" fmla="*/ 58292 h 125222"/>
              <a:gd name="connsiteX7" fmla="*/ 89916 w 134747"/>
              <a:gd name="connsiteY7" fmla="*/ 55625 h 125222"/>
              <a:gd name="connsiteX8" fmla="*/ 88646 w 134747"/>
              <a:gd name="connsiteY8" fmla="*/ 33273 h 125222"/>
              <a:gd name="connsiteX9" fmla="*/ 86995 w 134747"/>
              <a:gd name="connsiteY9" fmla="*/ 20192 h 125222"/>
              <a:gd name="connsiteX10" fmla="*/ 82804 w 134747"/>
              <a:gd name="connsiteY10" fmla="*/ 15239 h 125222"/>
              <a:gd name="connsiteX11" fmla="*/ 71374 w 134747"/>
              <a:gd name="connsiteY11" fmla="*/ 13716 h 125222"/>
              <a:gd name="connsiteX12" fmla="*/ 71120 w 134747"/>
              <a:gd name="connsiteY12" fmla="*/ 9397 h 125222"/>
              <a:gd name="connsiteX13" fmla="*/ 122301 w 134747"/>
              <a:gd name="connsiteY13" fmla="*/ 6350 h 125222"/>
              <a:gd name="connsiteX14" fmla="*/ 122555 w 134747"/>
              <a:gd name="connsiteY14" fmla="*/ 10794 h 125222"/>
              <a:gd name="connsiteX15" fmla="*/ 112141 w 134747"/>
              <a:gd name="connsiteY15" fmla="*/ 12954 h 125222"/>
              <a:gd name="connsiteX16" fmla="*/ 107950 w 134747"/>
              <a:gd name="connsiteY16" fmla="*/ 17907 h 125222"/>
              <a:gd name="connsiteX17" fmla="*/ 107696 w 134747"/>
              <a:gd name="connsiteY17" fmla="*/ 32130 h 125222"/>
              <a:gd name="connsiteX18" fmla="*/ 110998 w 134747"/>
              <a:gd name="connsiteY18" fmla="*/ 88264 h 125222"/>
              <a:gd name="connsiteX19" fmla="*/ 112522 w 134747"/>
              <a:gd name="connsiteY19" fmla="*/ 101472 h 125222"/>
              <a:gd name="connsiteX20" fmla="*/ 117094 w 134747"/>
              <a:gd name="connsiteY20" fmla="*/ 106552 h 125222"/>
              <a:gd name="connsiteX21" fmla="*/ 128143 w 134747"/>
              <a:gd name="connsiteY21" fmla="*/ 107950 h 125222"/>
              <a:gd name="connsiteX22" fmla="*/ 128397 w 134747"/>
              <a:gd name="connsiteY22" fmla="*/ 112141 h 125222"/>
              <a:gd name="connsiteX23" fmla="*/ 77216 w 134747"/>
              <a:gd name="connsiteY23" fmla="*/ 115188 h 125222"/>
              <a:gd name="connsiteX24" fmla="*/ 76962 w 134747"/>
              <a:gd name="connsiteY24" fmla="*/ 110870 h 125222"/>
              <a:gd name="connsiteX25" fmla="*/ 89662 w 134747"/>
              <a:gd name="connsiteY25" fmla="*/ 106552 h 125222"/>
              <a:gd name="connsiteX26" fmla="*/ 91821 w 134747"/>
              <a:gd name="connsiteY26" fmla="*/ 89407 h 125222"/>
              <a:gd name="connsiteX27" fmla="*/ 90297 w 134747"/>
              <a:gd name="connsiteY27" fmla="*/ 63119 h 125222"/>
              <a:gd name="connsiteX28" fmla="*/ 44577 w 134747"/>
              <a:gd name="connsiteY28" fmla="*/ 65785 h 125222"/>
              <a:gd name="connsiteX29" fmla="*/ 46101 w 134747"/>
              <a:gd name="connsiteY29" fmla="*/ 92075 h 125222"/>
              <a:gd name="connsiteX30" fmla="*/ 47752 w 134747"/>
              <a:gd name="connsiteY30" fmla="*/ 105282 h 125222"/>
              <a:gd name="connsiteX31" fmla="*/ 52324 w 134747"/>
              <a:gd name="connsiteY31" fmla="*/ 110235 h 125222"/>
              <a:gd name="connsiteX32" fmla="*/ 63373 w 134747"/>
              <a:gd name="connsiteY32" fmla="*/ 111632 h 125222"/>
              <a:gd name="connsiteX33" fmla="*/ 63627 w 134747"/>
              <a:gd name="connsiteY33" fmla="*/ 115950 h 125222"/>
              <a:gd name="connsiteX34" fmla="*/ 12446 w 134747"/>
              <a:gd name="connsiteY34" fmla="*/ 118872 h 125222"/>
              <a:gd name="connsiteX35" fmla="*/ 12192 w 134747"/>
              <a:gd name="connsiteY35" fmla="*/ 114680 h 125222"/>
              <a:gd name="connsiteX36" fmla="*/ 25146 w 134747"/>
              <a:gd name="connsiteY36" fmla="*/ 110108 h 125222"/>
              <a:gd name="connsiteX37" fmla="*/ 27051 w 134747"/>
              <a:gd name="connsiteY37" fmla="*/ 93091 h 125222"/>
              <a:gd name="connsiteX38" fmla="*/ 23749 w 134747"/>
              <a:gd name="connsiteY38" fmla="*/ 36957 h 125222"/>
              <a:gd name="connsiteX39" fmla="*/ 22225 w 134747"/>
              <a:gd name="connsiteY39" fmla="*/ 23748 h 125222"/>
              <a:gd name="connsiteX40" fmla="*/ 17653 w 134747"/>
              <a:gd name="connsiteY40" fmla="*/ 18795 h 125222"/>
              <a:gd name="connsiteX41" fmla="*/ 6604 w 134747"/>
              <a:gd name="connsiteY41" fmla="*/ 17525 h 125222"/>
              <a:gd name="connsiteX42" fmla="*/ 6350 w 134747"/>
              <a:gd name="connsiteY42" fmla="*/ 13080 h 125222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  <a:cxn ang="36">
                <a:pos x="connsiteX36" y="connsiteY36"/>
              </a:cxn>
              <a:cxn ang="37">
                <a:pos x="connsiteX37" y="connsiteY37"/>
              </a:cxn>
              <a:cxn ang="38">
                <a:pos x="connsiteX38" y="connsiteY38"/>
              </a:cxn>
              <a:cxn ang="39">
                <a:pos x="connsiteX39" y="connsiteY39"/>
              </a:cxn>
              <a:cxn ang="40">
                <a:pos x="connsiteX40" y="connsiteY40"/>
              </a:cxn>
              <a:cxn ang="41">
                <a:pos x="connsiteX41" y="connsiteY41"/>
              </a:cxn>
              <a:cxn ang="42">
                <a:pos x="connsiteX42" y="connsiteY42"/>
              </a:cxn>
            </a:cxnLst>
            <a:rect l="l" t="t" r="r" b="b"/>
            <a:pathLst>
              <a:path w="134747" h="125222">
                <a:moveTo>
                  <a:pt x="6350" y="13080"/>
                </a:moveTo>
                <a:lnTo>
                  <a:pt x="57531" y="10160"/>
                </a:lnTo>
                <a:lnTo>
                  <a:pt x="57785" y="14477"/>
                </a:lnTo>
                <a:cubicBezTo>
                  <a:pt x="52959" y="14858"/>
                  <a:pt x="49530" y="15494"/>
                  <a:pt x="47371" y="16763"/>
                </a:cubicBezTo>
                <a:cubicBezTo>
                  <a:pt x="45212" y="17907"/>
                  <a:pt x="43815" y="19557"/>
                  <a:pt x="43180" y="21716"/>
                </a:cubicBezTo>
                <a:cubicBezTo>
                  <a:pt x="42545" y="23748"/>
                  <a:pt x="42418" y="28575"/>
                  <a:pt x="42926" y="35941"/>
                </a:cubicBezTo>
                <a:lnTo>
                  <a:pt x="44196" y="58292"/>
                </a:lnTo>
                <a:lnTo>
                  <a:pt x="89916" y="55625"/>
                </a:lnTo>
                <a:lnTo>
                  <a:pt x="88646" y="33273"/>
                </a:lnTo>
                <a:cubicBezTo>
                  <a:pt x="88265" y="26542"/>
                  <a:pt x="87757" y="22225"/>
                  <a:pt x="86995" y="20192"/>
                </a:cubicBezTo>
                <a:cubicBezTo>
                  <a:pt x="86360" y="18160"/>
                  <a:pt x="84963" y="16510"/>
                  <a:pt x="82804" y="15239"/>
                </a:cubicBezTo>
                <a:cubicBezTo>
                  <a:pt x="80518" y="13969"/>
                  <a:pt x="76708" y="13461"/>
                  <a:pt x="71374" y="13716"/>
                </a:cubicBezTo>
                <a:lnTo>
                  <a:pt x="71120" y="9397"/>
                </a:lnTo>
                <a:lnTo>
                  <a:pt x="122301" y="6350"/>
                </a:lnTo>
                <a:lnTo>
                  <a:pt x="122555" y="10794"/>
                </a:lnTo>
                <a:cubicBezTo>
                  <a:pt x="117729" y="11048"/>
                  <a:pt x="114300" y="11810"/>
                  <a:pt x="112141" y="12954"/>
                </a:cubicBezTo>
                <a:cubicBezTo>
                  <a:pt x="109982" y="14223"/>
                  <a:pt x="108712" y="15875"/>
                  <a:pt x="107950" y="17907"/>
                </a:cubicBezTo>
                <a:cubicBezTo>
                  <a:pt x="107315" y="19938"/>
                  <a:pt x="107188" y="24764"/>
                  <a:pt x="107696" y="32130"/>
                </a:cubicBezTo>
                <a:lnTo>
                  <a:pt x="110998" y="88264"/>
                </a:lnTo>
                <a:cubicBezTo>
                  <a:pt x="111379" y="94995"/>
                  <a:pt x="111887" y="99441"/>
                  <a:pt x="112522" y="101472"/>
                </a:cubicBezTo>
                <a:cubicBezTo>
                  <a:pt x="113284" y="103632"/>
                  <a:pt x="114808" y="105282"/>
                  <a:pt x="117094" y="106552"/>
                </a:cubicBezTo>
                <a:cubicBezTo>
                  <a:pt x="119380" y="107695"/>
                  <a:pt x="123063" y="108204"/>
                  <a:pt x="128143" y="107950"/>
                </a:cubicBezTo>
                <a:lnTo>
                  <a:pt x="128397" y="112141"/>
                </a:lnTo>
                <a:lnTo>
                  <a:pt x="77216" y="115188"/>
                </a:lnTo>
                <a:lnTo>
                  <a:pt x="76962" y="110870"/>
                </a:lnTo>
                <a:cubicBezTo>
                  <a:pt x="83439" y="110489"/>
                  <a:pt x="87630" y="109092"/>
                  <a:pt x="89662" y="106552"/>
                </a:cubicBezTo>
                <a:cubicBezTo>
                  <a:pt x="91694" y="104139"/>
                  <a:pt x="92456" y="98425"/>
                  <a:pt x="91821" y="89407"/>
                </a:cubicBezTo>
                <a:lnTo>
                  <a:pt x="90297" y="63119"/>
                </a:lnTo>
                <a:lnTo>
                  <a:pt x="44577" y="65785"/>
                </a:lnTo>
                <a:lnTo>
                  <a:pt x="46101" y="92075"/>
                </a:lnTo>
                <a:cubicBezTo>
                  <a:pt x="46482" y="98805"/>
                  <a:pt x="47117" y="103123"/>
                  <a:pt x="47752" y="105282"/>
                </a:cubicBezTo>
                <a:cubicBezTo>
                  <a:pt x="48514" y="107441"/>
                  <a:pt x="50038" y="109092"/>
                  <a:pt x="52324" y="110235"/>
                </a:cubicBezTo>
                <a:cubicBezTo>
                  <a:pt x="54610" y="111505"/>
                  <a:pt x="58293" y="112013"/>
                  <a:pt x="63373" y="111632"/>
                </a:cubicBezTo>
                <a:lnTo>
                  <a:pt x="63627" y="115950"/>
                </a:lnTo>
                <a:lnTo>
                  <a:pt x="12446" y="118872"/>
                </a:lnTo>
                <a:lnTo>
                  <a:pt x="12192" y="114680"/>
                </a:lnTo>
                <a:cubicBezTo>
                  <a:pt x="19050" y="114300"/>
                  <a:pt x="23368" y="112775"/>
                  <a:pt x="25146" y="110108"/>
                </a:cubicBezTo>
                <a:cubicBezTo>
                  <a:pt x="26924" y="107569"/>
                  <a:pt x="27559" y="101854"/>
                  <a:pt x="27051" y="93091"/>
                </a:cubicBezTo>
                <a:lnTo>
                  <a:pt x="23749" y="36957"/>
                </a:lnTo>
                <a:cubicBezTo>
                  <a:pt x="23368" y="30352"/>
                  <a:pt x="22860" y="25907"/>
                  <a:pt x="22225" y="23748"/>
                </a:cubicBezTo>
                <a:cubicBezTo>
                  <a:pt x="21463" y="21716"/>
                  <a:pt x="19939" y="20066"/>
                  <a:pt x="17653" y="18795"/>
                </a:cubicBezTo>
                <a:cubicBezTo>
                  <a:pt x="15367" y="17652"/>
                  <a:pt x="11684" y="17144"/>
                  <a:pt x="6604" y="17525"/>
                </a:cubicBezTo>
                <a:lnTo>
                  <a:pt x="6350" y="1308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20" name="Freeform 3"/>
          <p:cNvSpPr/>
          <p:nvPr/>
        </p:nvSpPr>
        <p:spPr>
          <a:xfrm>
            <a:off x="3991449" y="1735384"/>
            <a:ext cx="71194" cy="106671"/>
          </a:xfrm>
          <a:custGeom>
            <a:avLst/>
            <a:gdLst>
              <a:gd name="connsiteX0" fmla="*/ 30733 w 72644"/>
              <a:gd name="connsiteY0" fmla="*/ 6350 h 108838"/>
              <a:gd name="connsiteX1" fmla="*/ 18541 w 72644"/>
              <a:gd name="connsiteY1" fmla="*/ 10541 h 108838"/>
              <a:gd name="connsiteX2" fmla="*/ 9144 w 72644"/>
              <a:gd name="connsiteY2" fmla="*/ 23748 h 108838"/>
              <a:gd name="connsiteX3" fmla="*/ 6350 w 72644"/>
              <a:gd name="connsiteY3" fmla="*/ 47498 h 108838"/>
              <a:gd name="connsiteX4" fmla="*/ 17398 w 72644"/>
              <a:gd name="connsiteY4" fmla="*/ 86867 h 108838"/>
              <a:gd name="connsiteX5" fmla="*/ 42417 w 72644"/>
              <a:gd name="connsiteY5" fmla="*/ 102489 h 108838"/>
              <a:gd name="connsiteX6" fmla="*/ 60452 w 72644"/>
              <a:gd name="connsiteY6" fmla="*/ 92455 h 108838"/>
              <a:gd name="connsiteX7" fmla="*/ 66294 w 72644"/>
              <a:gd name="connsiteY7" fmla="*/ 60325 h 108838"/>
              <a:gd name="connsiteX8" fmla="*/ 52070 w 72644"/>
              <a:gd name="connsiteY8" fmla="*/ 16510 h 108838"/>
              <a:gd name="connsiteX9" fmla="*/ 30733 w 72644"/>
              <a:gd name="connsiteY9" fmla="*/ 6350 h 10883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</a:cxnLst>
            <a:rect l="l" t="t" r="r" b="b"/>
            <a:pathLst>
              <a:path w="72644" h="108838">
                <a:moveTo>
                  <a:pt x="30733" y="6350"/>
                </a:moveTo>
                <a:cubicBezTo>
                  <a:pt x="26670" y="6604"/>
                  <a:pt x="22605" y="8001"/>
                  <a:pt x="18541" y="10541"/>
                </a:cubicBezTo>
                <a:cubicBezTo>
                  <a:pt x="14604" y="13208"/>
                  <a:pt x="11429" y="17652"/>
                  <a:pt x="9144" y="23748"/>
                </a:cubicBezTo>
                <a:cubicBezTo>
                  <a:pt x="6858" y="29972"/>
                  <a:pt x="5969" y="37845"/>
                  <a:pt x="6350" y="47498"/>
                </a:cubicBezTo>
                <a:cubicBezTo>
                  <a:pt x="7111" y="62864"/>
                  <a:pt x="10795" y="75945"/>
                  <a:pt x="17398" y="86867"/>
                </a:cubicBezTo>
                <a:cubicBezTo>
                  <a:pt x="24129" y="97789"/>
                  <a:pt x="32384" y="102997"/>
                  <a:pt x="42417" y="102489"/>
                </a:cubicBezTo>
                <a:cubicBezTo>
                  <a:pt x="49910" y="102235"/>
                  <a:pt x="55879" y="98805"/>
                  <a:pt x="60452" y="92455"/>
                </a:cubicBezTo>
                <a:cubicBezTo>
                  <a:pt x="65023" y="86105"/>
                  <a:pt x="67055" y="75311"/>
                  <a:pt x="66294" y="60325"/>
                </a:cubicBezTo>
                <a:cubicBezTo>
                  <a:pt x="65404" y="41529"/>
                  <a:pt x="60705" y="26923"/>
                  <a:pt x="52070" y="16510"/>
                </a:cubicBezTo>
                <a:cubicBezTo>
                  <a:pt x="46354" y="9398"/>
                  <a:pt x="39115" y="5969"/>
                  <a:pt x="30733" y="6350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21" name="Freeform 3"/>
          <p:cNvSpPr/>
          <p:nvPr/>
        </p:nvSpPr>
        <p:spPr>
          <a:xfrm>
            <a:off x="3970913" y="1727918"/>
            <a:ext cx="112390" cy="122479"/>
          </a:xfrm>
          <a:custGeom>
            <a:avLst/>
            <a:gdLst>
              <a:gd name="connsiteX0" fmla="*/ 54863 w 114680"/>
              <a:gd name="connsiteY0" fmla="*/ 6350 h 124967"/>
              <a:gd name="connsiteX1" fmla="*/ 94360 w 114680"/>
              <a:gd name="connsiteY1" fmla="*/ 22732 h 124967"/>
              <a:gd name="connsiteX2" fmla="*/ 108330 w 114680"/>
              <a:gd name="connsiteY2" fmla="*/ 58038 h 124967"/>
              <a:gd name="connsiteX3" fmla="*/ 102870 w 114680"/>
              <a:gd name="connsiteY3" fmla="*/ 87121 h 124967"/>
              <a:gd name="connsiteX4" fmla="*/ 85089 w 114680"/>
              <a:gd name="connsiteY4" fmla="*/ 109981 h 124967"/>
              <a:gd name="connsiteX5" fmla="*/ 58801 w 114680"/>
              <a:gd name="connsiteY5" fmla="*/ 118617 h 124967"/>
              <a:gd name="connsiteX6" fmla="*/ 19938 w 114680"/>
              <a:gd name="connsiteY6" fmla="*/ 101218 h 124967"/>
              <a:gd name="connsiteX7" fmla="*/ 6350 w 114680"/>
              <a:gd name="connsiteY7" fmla="*/ 65785 h 124967"/>
              <a:gd name="connsiteX8" fmla="*/ 12191 w 114680"/>
              <a:gd name="connsiteY8" fmla="*/ 36448 h 124967"/>
              <a:gd name="connsiteX9" fmla="*/ 30226 w 114680"/>
              <a:gd name="connsiteY9" fmla="*/ 14350 h 124967"/>
              <a:gd name="connsiteX10" fmla="*/ 54863 w 114680"/>
              <a:gd name="connsiteY10" fmla="*/ 6350 h 12496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</a:cxnLst>
            <a:rect l="l" t="t" r="r" b="b"/>
            <a:pathLst>
              <a:path w="114680" h="124967">
                <a:moveTo>
                  <a:pt x="54863" y="6350"/>
                </a:moveTo>
                <a:cubicBezTo>
                  <a:pt x="70865" y="5587"/>
                  <a:pt x="84073" y="11048"/>
                  <a:pt x="94360" y="22732"/>
                </a:cubicBezTo>
                <a:cubicBezTo>
                  <a:pt x="102996" y="32765"/>
                  <a:pt x="107695" y="44576"/>
                  <a:pt x="108330" y="58038"/>
                </a:cubicBezTo>
                <a:cubicBezTo>
                  <a:pt x="108838" y="67563"/>
                  <a:pt x="106933" y="77215"/>
                  <a:pt x="102870" y="87121"/>
                </a:cubicBezTo>
                <a:cubicBezTo>
                  <a:pt x="98805" y="97027"/>
                  <a:pt x="92836" y="104647"/>
                  <a:pt x="85089" y="109981"/>
                </a:cubicBezTo>
                <a:cubicBezTo>
                  <a:pt x="77342" y="115315"/>
                  <a:pt x="68579" y="118109"/>
                  <a:pt x="58801" y="118617"/>
                </a:cubicBezTo>
                <a:cubicBezTo>
                  <a:pt x="42798" y="119379"/>
                  <a:pt x="29845" y="113537"/>
                  <a:pt x="19938" y="101218"/>
                </a:cubicBezTo>
                <a:cubicBezTo>
                  <a:pt x="11429" y="90931"/>
                  <a:pt x="6984" y="79120"/>
                  <a:pt x="6350" y="65785"/>
                </a:cubicBezTo>
                <a:cubicBezTo>
                  <a:pt x="5841" y="56006"/>
                  <a:pt x="7873" y="46354"/>
                  <a:pt x="12191" y="36448"/>
                </a:cubicBezTo>
                <a:cubicBezTo>
                  <a:pt x="16636" y="26669"/>
                  <a:pt x="22605" y="19303"/>
                  <a:pt x="30226" y="14350"/>
                </a:cubicBezTo>
                <a:cubicBezTo>
                  <a:pt x="37845" y="9397"/>
                  <a:pt x="46101" y="6730"/>
                  <a:pt x="54863" y="6350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22" name="Freeform 3"/>
          <p:cNvSpPr/>
          <p:nvPr/>
        </p:nvSpPr>
        <p:spPr>
          <a:xfrm>
            <a:off x="4114295" y="1739493"/>
            <a:ext cx="65468" cy="99204"/>
          </a:xfrm>
          <a:custGeom>
            <a:avLst/>
            <a:gdLst>
              <a:gd name="connsiteX0" fmla="*/ 30607 w 66802"/>
              <a:gd name="connsiteY0" fmla="*/ 6350 h 101219"/>
              <a:gd name="connsiteX1" fmla="*/ 19684 w 66802"/>
              <a:gd name="connsiteY1" fmla="*/ 9525 h 101219"/>
              <a:gd name="connsiteX2" fmla="*/ 6350 w 66802"/>
              <a:gd name="connsiteY2" fmla="*/ 22479 h 101219"/>
              <a:gd name="connsiteX3" fmla="*/ 7747 w 66802"/>
              <a:gd name="connsiteY3" fmla="*/ 61976 h 101219"/>
              <a:gd name="connsiteX4" fmla="*/ 9397 w 66802"/>
              <a:gd name="connsiteY4" fmla="*/ 78867 h 101219"/>
              <a:gd name="connsiteX5" fmla="*/ 17779 w 66802"/>
              <a:gd name="connsiteY5" fmla="*/ 90423 h 101219"/>
              <a:gd name="connsiteX6" fmla="*/ 33782 w 66802"/>
              <a:gd name="connsiteY6" fmla="*/ 94869 h 101219"/>
              <a:gd name="connsiteX7" fmla="*/ 52197 w 66802"/>
              <a:gd name="connsiteY7" fmla="*/ 85217 h 101219"/>
              <a:gd name="connsiteX8" fmla="*/ 60452 w 66802"/>
              <a:gd name="connsiteY8" fmla="*/ 51689 h 101219"/>
              <a:gd name="connsiteX9" fmla="*/ 48514 w 66802"/>
              <a:gd name="connsiteY9" fmla="*/ 14732 h 101219"/>
              <a:gd name="connsiteX10" fmla="*/ 30607 w 66802"/>
              <a:gd name="connsiteY10" fmla="*/ 6350 h 10121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</a:cxnLst>
            <a:rect l="l" t="t" r="r" b="b"/>
            <a:pathLst>
              <a:path w="66802" h="101219">
                <a:moveTo>
                  <a:pt x="30607" y="6350"/>
                </a:moveTo>
                <a:cubicBezTo>
                  <a:pt x="26923" y="6476"/>
                  <a:pt x="23241" y="7492"/>
                  <a:pt x="19684" y="9525"/>
                </a:cubicBezTo>
                <a:cubicBezTo>
                  <a:pt x="17017" y="11048"/>
                  <a:pt x="12572" y="15367"/>
                  <a:pt x="6350" y="22479"/>
                </a:cubicBezTo>
                <a:lnTo>
                  <a:pt x="7747" y="61976"/>
                </a:lnTo>
                <a:cubicBezTo>
                  <a:pt x="8128" y="70611"/>
                  <a:pt x="8635" y="76200"/>
                  <a:pt x="9397" y="78867"/>
                </a:cubicBezTo>
                <a:cubicBezTo>
                  <a:pt x="10667" y="83311"/>
                  <a:pt x="13461" y="87122"/>
                  <a:pt x="17779" y="90423"/>
                </a:cubicBezTo>
                <a:cubicBezTo>
                  <a:pt x="22097" y="93598"/>
                  <a:pt x="27432" y="95123"/>
                  <a:pt x="33782" y="94869"/>
                </a:cubicBezTo>
                <a:cubicBezTo>
                  <a:pt x="41528" y="94614"/>
                  <a:pt x="47625" y="91439"/>
                  <a:pt x="52197" y="85217"/>
                </a:cubicBezTo>
                <a:cubicBezTo>
                  <a:pt x="58166" y="77089"/>
                  <a:pt x="60959" y="65913"/>
                  <a:pt x="60452" y="51689"/>
                </a:cubicBezTo>
                <a:cubicBezTo>
                  <a:pt x="59816" y="35560"/>
                  <a:pt x="55879" y="23241"/>
                  <a:pt x="48514" y="14732"/>
                </a:cubicBezTo>
                <a:cubicBezTo>
                  <a:pt x="43307" y="8889"/>
                  <a:pt x="37338" y="6095"/>
                  <a:pt x="30607" y="6350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23" name="Freeform 3"/>
          <p:cNvSpPr/>
          <p:nvPr/>
        </p:nvSpPr>
        <p:spPr>
          <a:xfrm>
            <a:off x="4077454" y="1722688"/>
            <a:ext cx="122099" cy="171522"/>
          </a:xfrm>
          <a:custGeom>
            <a:avLst/>
            <a:gdLst>
              <a:gd name="connsiteX0" fmla="*/ 76708 w 124586"/>
              <a:gd name="connsiteY0" fmla="*/ 6350 h 175006"/>
              <a:gd name="connsiteX1" fmla="*/ 103758 w 124586"/>
              <a:gd name="connsiteY1" fmla="*/ 17907 h 175006"/>
              <a:gd name="connsiteX2" fmla="*/ 118236 w 124586"/>
              <a:gd name="connsiteY2" fmla="*/ 57277 h 175006"/>
              <a:gd name="connsiteX3" fmla="*/ 104139 w 124586"/>
              <a:gd name="connsiteY3" fmla="*/ 103124 h 175006"/>
              <a:gd name="connsiteX4" fmla="*/ 72008 w 124586"/>
              <a:gd name="connsiteY4" fmla="*/ 118999 h 175006"/>
              <a:gd name="connsiteX5" fmla="*/ 57150 w 124586"/>
              <a:gd name="connsiteY5" fmla="*/ 117094 h 175006"/>
              <a:gd name="connsiteX6" fmla="*/ 46482 w 124586"/>
              <a:gd name="connsiteY6" fmla="*/ 110490 h 175006"/>
              <a:gd name="connsiteX7" fmla="*/ 47625 w 124586"/>
              <a:gd name="connsiteY7" fmla="*/ 142748 h 175006"/>
              <a:gd name="connsiteX8" fmla="*/ 49402 w 124586"/>
              <a:gd name="connsiteY8" fmla="*/ 156591 h 175006"/>
              <a:gd name="connsiteX9" fmla="*/ 54228 w 124586"/>
              <a:gd name="connsiteY9" fmla="*/ 161036 h 175006"/>
              <a:gd name="connsiteX10" fmla="*/ 66294 w 124586"/>
              <a:gd name="connsiteY10" fmla="*/ 162433 h 175006"/>
              <a:gd name="connsiteX11" fmla="*/ 66420 w 124586"/>
              <a:gd name="connsiteY11" fmla="*/ 166624 h 175006"/>
              <a:gd name="connsiteX12" fmla="*/ 10921 w 124586"/>
              <a:gd name="connsiteY12" fmla="*/ 168655 h 175006"/>
              <a:gd name="connsiteX13" fmla="*/ 10795 w 124586"/>
              <a:gd name="connsiteY13" fmla="*/ 164338 h 175006"/>
              <a:gd name="connsiteX14" fmla="*/ 13589 w 124586"/>
              <a:gd name="connsiteY14" fmla="*/ 164211 h 175006"/>
              <a:gd name="connsiteX15" fmla="*/ 24383 w 124586"/>
              <a:gd name="connsiteY15" fmla="*/ 161417 h 175006"/>
              <a:gd name="connsiteX16" fmla="*/ 27685 w 124586"/>
              <a:gd name="connsiteY16" fmla="*/ 157226 h 175006"/>
              <a:gd name="connsiteX17" fmla="*/ 28447 w 124586"/>
              <a:gd name="connsiteY17" fmla="*/ 142748 h 175006"/>
              <a:gd name="connsiteX18" fmla="*/ 24891 w 124586"/>
              <a:gd name="connsiteY18" fmla="*/ 42672 h 175006"/>
              <a:gd name="connsiteX19" fmla="*/ 23495 w 124586"/>
              <a:gd name="connsiteY19" fmla="*/ 29591 h 175006"/>
              <a:gd name="connsiteX20" fmla="*/ 20320 w 124586"/>
              <a:gd name="connsiteY20" fmla="*/ 25527 h 175006"/>
              <a:gd name="connsiteX21" fmla="*/ 14858 w 124586"/>
              <a:gd name="connsiteY21" fmla="*/ 24384 h 175006"/>
              <a:gd name="connsiteX22" fmla="*/ 7873 w 124586"/>
              <a:gd name="connsiteY22" fmla="*/ 26162 h 175006"/>
              <a:gd name="connsiteX23" fmla="*/ 6350 w 124586"/>
              <a:gd name="connsiteY23" fmla="*/ 22605 h 175006"/>
              <a:gd name="connsiteX24" fmla="*/ 38480 w 124586"/>
              <a:gd name="connsiteY24" fmla="*/ 8255 h 175006"/>
              <a:gd name="connsiteX25" fmla="*/ 42798 w 124586"/>
              <a:gd name="connsiteY25" fmla="*/ 8001 h 175006"/>
              <a:gd name="connsiteX26" fmla="*/ 43688 w 124586"/>
              <a:gd name="connsiteY26" fmla="*/ 32766 h 175006"/>
              <a:gd name="connsiteX27" fmla="*/ 59563 w 124586"/>
              <a:gd name="connsiteY27" fmla="*/ 12573 h 175006"/>
              <a:gd name="connsiteX28" fmla="*/ 76708 w 124586"/>
              <a:gd name="connsiteY28" fmla="*/ 6350 h 17500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</a:cxnLst>
            <a:rect l="l" t="t" r="r" b="b"/>
            <a:pathLst>
              <a:path w="124586" h="175006">
                <a:moveTo>
                  <a:pt x="76708" y="6350"/>
                </a:moveTo>
                <a:cubicBezTo>
                  <a:pt x="87376" y="5969"/>
                  <a:pt x="96392" y="9905"/>
                  <a:pt x="103758" y="17907"/>
                </a:cubicBezTo>
                <a:cubicBezTo>
                  <a:pt x="112776" y="27813"/>
                  <a:pt x="117601" y="40894"/>
                  <a:pt x="118236" y="57277"/>
                </a:cubicBezTo>
                <a:cubicBezTo>
                  <a:pt x="118871" y="75565"/>
                  <a:pt x="114172" y="90805"/>
                  <a:pt x="104139" y="103124"/>
                </a:cubicBezTo>
                <a:cubicBezTo>
                  <a:pt x="95758" y="113284"/>
                  <a:pt x="85089" y="118491"/>
                  <a:pt x="72008" y="118999"/>
                </a:cubicBezTo>
                <a:cubicBezTo>
                  <a:pt x="66294" y="119126"/>
                  <a:pt x="61340" y="118491"/>
                  <a:pt x="57150" y="117094"/>
                </a:cubicBezTo>
                <a:cubicBezTo>
                  <a:pt x="53975" y="116077"/>
                  <a:pt x="50419" y="113792"/>
                  <a:pt x="46482" y="110490"/>
                </a:cubicBezTo>
                <a:lnTo>
                  <a:pt x="47625" y="142748"/>
                </a:lnTo>
                <a:cubicBezTo>
                  <a:pt x="47878" y="149987"/>
                  <a:pt x="48514" y="154559"/>
                  <a:pt x="49402" y="156591"/>
                </a:cubicBezTo>
                <a:cubicBezTo>
                  <a:pt x="50419" y="158496"/>
                  <a:pt x="51942" y="160020"/>
                  <a:pt x="54228" y="161036"/>
                </a:cubicBezTo>
                <a:cubicBezTo>
                  <a:pt x="56514" y="162179"/>
                  <a:pt x="60451" y="162560"/>
                  <a:pt x="66294" y="162433"/>
                </a:cubicBezTo>
                <a:lnTo>
                  <a:pt x="66420" y="166624"/>
                </a:lnTo>
                <a:lnTo>
                  <a:pt x="10921" y="168655"/>
                </a:lnTo>
                <a:lnTo>
                  <a:pt x="10795" y="164338"/>
                </a:lnTo>
                <a:lnTo>
                  <a:pt x="13589" y="164211"/>
                </a:lnTo>
                <a:cubicBezTo>
                  <a:pt x="17907" y="164211"/>
                  <a:pt x="21463" y="163195"/>
                  <a:pt x="24383" y="161417"/>
                </a:cubicBezTo>
                <a:cubicBezTo>
                  <a:pt x="25908" y="160527"/>
                  <a:pt x="26923" y="159130"/>
                  <a:pt x="27685" y="157226"/>
                </a:cubicBezTo>
                <a:cubicBezTo>
                  <a:pt x="28447" y="155321"/>
                  <a:pt x="28701" y="150495"/>
                  <a:pt x="28447" y="142748"/>
                </a:cubicBezTo>
                <a:lnTo>
                  <a:pt x="24891" y="42672"/>
                </a:lnTo>
                <a:cubicBezTo>
                  <a:pt x="24638" y="35814"/>
                  <a:pt x="24129" y="31369"/>
                  <a:pt x="23495" y="29591"/>
                </a:cubicBezTo>
                <a:cubicBezTo>
                  <a:pt x="22733" y="27813"/>
                  <a:pt x="21716" y="26416"/>
                  <a:pt x="20320" y="25527"/>
                </a:cubicBezTo>
                <a:cubicBezTo>
                  <a:pt x="19050" y="24638"/>
                  <a:pt x="17145" y="24257"/>
                  <a:pt x="14858" y="24384"/>
                </a:cubicBezTo>
                <a:cubicBezTo>
                  <a:pt x="12953" y="24384"/>
                  <a:pt x="10667" y="25019"/>
                  <a:pt x="7873" y="26162"/>
                </a:cubicBezTo>
                <a:lnTo>
                  <a:pt x="6350" y="22605"/>
                </a:lnTo>
                <a:lnTo>
                  <a:pt x="38480" y="8255"/>
                </a:lnTo>
                <a:lnTo>
                  <a:pt x="42798" y="8001"/>
                </a:lnTo>
                <a:lnTo>
                  <a:pt x="43688" y="32766"/>
                </a:lnTo>
                <a:cubicBezTo>
                  <a:pt x="48895" y="23241"/>
                  <a:pt x="54101" y="16510"/>
                  <a:pt x="59563" y="12573"/>
                </a:cubicBezTo>
                <a:cubicBezTo>
                  <a:pt x="64896" y="8636"/>
                  <a:pt x="70611" y="6604"/>
                  <a:pt x="76708" y="6350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24" name="Freeform 3"/>
          <p:cNvSpPr/>
          <p:nvPr/>
        </p:nvSpPr>
        <p:spPr>
          <a:xfrm>
            <a:off x="4195696" y="1720698"/>
            <a:ext cx="151597" cy="119617"/>
          </a:xfrm>
          <a:custGeom>
            <a:avLst/>
            <a:gdLst>
              <a:gd name="connsiteX0" fmla="*/ 6350 w 154685"/>
              <a:gd name="connsiteY0" fmla="*/ 9778 h 122047"/>
              <a:gd name="connsiteX1" fmla="*/ 43688 w 154685"/>
              <a:gd name="connsiteY1" fmla="*/ 8889 h 122047"/>
              <a:gd name="connsiteX2" fmla="*/ 78866 w 154685"/>
              <a:gd name="connsiteY2" fmla="*/ 86359 h 122047"/>
              <a:gd name="connsiteX3" fmla="*/ 110108 w 154685"/>
              <a:gd name="connsiteY3" fmla="*/ 7238 h 122047"/>
              <a:gd name="connsiteX4" fmla="*/ 145795 w 154685"/>
              <a:gd name="connsiteY4" fmla="*/ 6350 h 122047"/>
              <a:gd name="connsiteX5" fmla="*/ 145922 w 154685"/>
              <a:gd name="connsiteY5" fmla="*/ 10794 h 122047"/>
              <a:gd name="connsiteX6" fmla="*/ 135508 w 154685"/>
              <a:gd name="connsiteY6" fmla="*/ 12572 h 122047"/>
              <a:gd name="connsiteX7" fmla="*/ 131445 w 154685"/>
              <a:gd name="connsiteY7" fmla="*/ 16636 h 122047"/>
              <a:gd name="connsiteX8" fmla="*/ 130301 w 154685"/>
              <a:gd name="connsiteY8" fmla="*/ 31622 h 122047"/>
              <a:gd name="connsiteX9" fmla="*/ 131698 w 154685"/>
              <a:gd name="connsiteY9" fmla="*/ 87883 h 122047"/>
              <a:gd name="connsiteX10" fmla="*/ 133095 w 154685"/>
              <a:gd name="connsiteY10" fmla="*/ 101980 h 122047"/>
              <a:gd name="connsiteX11" fmla="*/ 137667 w 154685"/>
              <a:gd name="connsiteY11" fmla="*/ 106679 h 122047"/>
              <a:gd name="connsiteX12" fmla="*/ 148208 w 154685"/>
              <a:gd name="connsiteY12" fmla="*/ 108076 h 122047"/>
              <a:gd name="connsiteX13" fmla="*/ 148335 w 154685"/>
              <a:gd name="connsiteY13" fmla="*/ 112394 h 122047"/>
              <a:gd name="connsiteX14" fmla="*/ 97027 w 154685"/>
              <a:gd name="connsiteY14" fmla="*/ 113537 h 122047"/>
              <a:gd name="connsiteX15" fmla="*/ 97027 w 154685"/>
              <a:gd name="connsiteY15" fmla="*/ 109347 h 122047"/>
              <a:gd name="connsiteX16" fmla="*/ 109601 w 154685"/>
              <a:gd name="connsiteY16" fmla="*/ 105536 h 122047"/>
              <a:gd name="connsiteX17" fmla="*/ 112395 w 154685"/>
              <a:gd name="connsiteY17" fmla="*/ 88391 h 122047"/>
              <a:gd name="connsiteX18" fmla="*/ 110870 w 154685"/>
              <a:gd name="connsiteY18" fmla="*/ 24637 h 122047"/>
              <a:gd name="connsiteX19" fmla="*/ 75564 w 154685"/>
              <a:gd name="connsiteY19" fmla="*/ 114045 h 122047"/>
              <a:gd name="connsiteX20" fmla="*/ 71501 w 154685"/>
              <a:gd name="connsiteY20" fmla="*/ 114172 h 122047"/>
              <a:gd name="connsiteX21" fmla="*/ 31241 w 154685"/>
              <a:gd name="connsiteY21" fmla="*/ 26542 h 122047"/>
              <a:gd name="connsiteX22" fmla="*/ 32765 w 154685"/>
              <a:gd name="connsiteY22" fmla="*/ 90297 h 122047"/>
              <a:gd name="connsiteX23" fmla="*/ 34289 w 154685"/>
              <a:gd name="connsiteY23" fmla="*/ 104394 h 122047"/>
              <a:gd name="connsiteX24" fmla="*/ 38861 w 154685"/>
              <a:gd name="connsiteY24" fmla="*/ 109092 h 122047"/>
              <a:gd name="connsiteX25" fmla="*/ 49276 w 154685"/>
              <a:gd name="connsiteY25" fmla="*/ 110489 h 122047"/>
              <a:gd name="connsiteX26" fmla="*/ 49402 w 154685"/>
              <a:gd name="connsiteY26" fmla="*/ 114680 h 122047"/>
              <a:gd name="connsiteX27" fmla="*/ 8889 w 154685"/>
              <a:gd name="connsiteY27" fmla="*/ 115697 h 122047"/>
              <a:gd name="connsiteX28" fmla="*/ 8889 w 154685"/>
              <a:gd name="connsiteY28" fmla="*/ 111378 h 122047"/>
              <a:gd name="connsiteX29" fmla="*/ 21970 w 154685"/>
              <a:gd name="connsiteY29" fmla="*/ 107314 h 122047"/>
              <a:gd name="connsiteX30" fmla="*/ 24383 w 154685"/>
              <a:gd name="connsiteY30" fmla="*/ 90423 h 122047"/>
              <a:gd name="connsiteX31" fmla="*/ 23114 w 154685"/>
              <a:gd name="connsiteY31" fmla="*/ 34162 h 122047"/>
              <a:gd name="connsiteX32" fmla="*/ 21463 w 154685"/>
              <a:gd name="connsiteY32" fmla="*/ 19557 h 122047"/>
              <a:gd name="connsiteX33" fmla="*/ 17398 w 154685"/>
              <a:gd name="connsiteY33" fmla="*/ 15620 h 122047"/>
              <a:gd name="connsiteX34" fmla="*/ 6476 w 154685"/>
              <a:gd name="connsiteY34" fmla="*/ 14097 h 122047"/>
              <a:gd name="connsiteX35" fmla="*/ 6350 w 154685"/>
              <a:gd name="connsiteY35" fmla="*/ 9778 h 12204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</a:cxnLst>
            <a:rect l="l" t="t" r="r" b="b"/>
            <a:pathLst>
              <a:path w="154685" h="122047">
                <a:moveTo>
                  <a:pt x="6350" y="9778"/>
                </a:moveTo>
                <a:lnTo>
                  <a:pt x="43688" y="8889"/>
                </a:lnTo>
                <a:lnTo>
                  <a:pt x="78866" y="86359"/>
                </a:lnTo>
                <a:lnTo>
                  <a:pt x="110108" y="7238"/>
                </a:lnTo>
                <a:lnTo>
                  <a:pt x="145795" y="6350"/>
                </a:lnTo>
                <a:lnTo>
                  <a:pt x="145922" y="10794"/>
                </a:lnTo>
                <a:cubicBezTo>
                  <a:pt x="140715" y="10922"/>
                  <a:pt x="137159" y="11556"/>
                  <a:pt x="135508" y="12572"/>
                </a:cubicBezTo>
                <a:cubicBezTo>
                  <a:pt x="133730" y="13716"/>
                  <a:pt x="132460" y="14985"/>
                  <a:pt x="131445" y="16636"/>
                </a:cubicBezTo>
                <a:cubicBezTo>
                  <a:pt x="130428" y="18160"/>
                  <a:pt x="130047" y="23241"/>
                  <a:pt x="130301" y="31622"/>
                </a:cubicBezTo>
                <a:lnTo>
                  <a:pt x="131698" y="87883"/>
                </a:lnTo>
                <a:cubicBezTo>
                  <a:pt x="131826" y="95250"/>
                  <a:pt x="132333" y="99948"/>
                  <a:pt x="133095" y="101980"/>
                </a:cubicBezTo>
                <a:cubicBezTo>
                  <a:pt x="133858" y="104139"/>
                  <a:pt x="135382" y="105663"/>
                  <a:pt x="137667" y="106679"/>
                </a:cubicBezTo>
                <a:cubicBezTo>
                  <a:pt x="140080" y="107695"/>
                  <a:pt x="143509" y="108203"/>
                  <a:pt x="148208" y="108076"/>
                </a:cubicBezTo>
                <a:lnTo>
                  <a:pt x="148335" y="112394"/>
                </a:lnTo>
                <a:lnTo>
                  <a:pt x="97027" y="113537"/>
                </a:lnTo>
                <a:lnTo>
                  <a:pt x="97027" y="109347"/>
                </a:lnTo>
                <a:cubicBezTo>
                  <a:pt x="103251" y="109219"/>
                  <a:pt x="107569" y="107822"/>
                  <a:pt x="109601" y="105536"/>
                </a:cubicBezTo>
                <a:cubicBezTo>
                  <a:pt x="111759" y="103123"/>
                  <a:pt x="112648" y="97408"/>
                  <a:pt x="112395" y="88391"/>
                </a:cubicBezTo>
                <a:lnTo>
                  <a:pt x="110870" y="24637"/>
                </a:lnTo>
                <a:lnTo>
                  <a:pt x="75564" y="114045"/>
                </a:lnTo>
                <a:lnTo>
                  <a:pt x="71501" y="114172"/>
                </a:lnTo>
                <a:lnTo>
                  <a:pt x="31241" y="26542"/>
                </a:lnTo>
                <a:lnTo>
                  <a:pt x="32765" y="90297"/>
                </a:lnTo>
                <a:cubicBezTo>
                  <a:pt x="32892" y="97535"/>
                  <a:pt x="33401" y="102234"/>
                  <a:pt x="34289" y="104394"/>
                </a:cubicBezTo>
                <a:cubicBezTo>
                  <a:pt x="35051" y="106425"/>
                  <a:pt x="36576" y="108076"/>
                  <a:pt x="38861" y="109092"/>
                </a:cubicBezTo>
                <a:cubicBezTo>
                  <a:pt x="41147" y="110108"/>
                  <a:pt x="44576" y="110616"/>
                  <a:pt x="49276" y="110489"/>
                </a:cubicBezTo>
                <a:lnTo>
                  <a:pt x="49402" y="114680"/>
                </a:lnTo>
                <a:lnTo>
                  <a:pt x="8889" y="115697"/>
                </a:lnTo>
                <a:lnTo>
                  <a:pt x="8889" y="111378"/>
                </a:lnTo>
                <a:cubicBezTo>
                  <a:pt x="15747" y="111251"/>
                  <a:pt x="20065" y="109854"/>
                  <a:pt x="21970" y="107314"/>
                </a:cubicBezTo>
                <a:cubicBezTo>
                  <a:pt x="23748" y="104775"/>
                  <a:pt x="24638" y="99186"/>
                  <a:pt x="24383" y="90423"/>
                </a:cubicBezTo>
                <a:lnTo>
                  <a:pt x="23114" y="34162"/>
                </a:lnTo>
                <a:cubicBezTo>
                  <a:pt x="22859" y="25907"/>
                  <a:pt x="22351" y="21081"/>
                  <a:pt x="21463" y="19557"/>
                </a:cubicBezTo>
                <a:cubicBezTo>
                  <a:pt x="20573" y="18160"/>
                  <a:pt x="19176" y="16763"/>
                  <a:pt x="17398" y="15620"/>
                </a:cubicBezTo>
                <a:cubicBezTo>
                  <a:pt x="15620" y="14477"/>
                  <a:pt x="11938" y="13969"/>
                  <a:pt x="6476" y="14097"/>
                </a:cubicBezTo>
                <a:lnTo>
                  <a:pt x="6350" y="9778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25" name="Freeform 3"/>
          <p:cNvSpPr/>
          <p:nvPr/>
        </p:nvSpPr>
        <p:spPr>
          <a:xfrm>
            <a:off x="4343933" y="1719203"/>
            <a:ext cx="127576" cy="117750"/>
          </a:xfrm>
          <a:custGeom>
            <a:avLst/>
            <a:gdLst>
              <a:gd name="connsiteX0" fmla="*/ 6350 w 130175"/>
              <a:gd name="connsiteY0" fmla="*/ 7747 h 120142"/>
              <a:gd name="connsiteX1" fmla="*/ 57530 w 130175"/>
              <a:gd name="connsiteY1" fmla="*/ 7111 h 120142"/>
              <a:gd name="connsiteX2" fmla="*/ 57657 w 130175"/>
              <a:gd name="connsiteY2" fmla="*/ 11557 h 120142"/>
              <a:gd name="connsiteX3" fmla="*/ 47244 w 130175"/>
              <a:gd name="connsiteY3" fmla="*/ 13208 h 120142"/>
              <a:gd name="connsiteX4" fmla="*/ 43052 w 130175"/>
              <a:gd name="connsiteY4" fmla="*/ 17145 h 120142"/>
              <a:gd name="connsiteX5" fmla="*/ 41782 w 130175"/>
              <a:gd name="connsiteY5" fmla="*/ 32258 h 120142"/>
              <a:gd name="connsiteX6" fmla="*/ 42417 w 130175"/>
              <a:gd name="connsiteY6" fmla="*/ 80772 h 120142"/>
              <a:gd name="connsiteX7" fmla="*/ 87502 w 130175"/>
              <a:gd name="connsiteY7" fmla="*/ 27177 h 120142"/>
              <a:gd name="connsiteX8" fmla="*/ 84073 w 130175"/>
              <a:gd name="connsiteY8" fmla="*/ 14858 h 120142"/>
              <a:gd name="connsiteX9" fmla="*/ 73278 w 130175"/>
              <a:gd name="connsiteY9" fmla="*/ 11430 h 120142"/>
              <a:gd name="connsiteX10" fmla="*/ 73151 w 130175"/>
              <a:gd name="connsiteY10" fmla="*/ 6985 h 120142"/>
              <a:gd name="connsiteX11" fmla="*/ 122427 w 130175"/>
              <a:gd name="connsiteY11" fmla="*/ 6350 h 120142"/>
              <a:gd name="connsiteX12" fmla="*/ 122554 w 130175"/>
              <a:gd name="connsiteY12" fmla="*/ 10795 h 120142"/>
              <a:gd name="connsiteX13" fmla="*/ 112140 w 130175"/>
              <a:gd name="connsiteY13" fmla="*/ 12446 h 120142"/>
              <a:gd name="connsiteX14" fmla="*/ 108076 w 130175"/>
              <a:gd name="connsiteY14" fmla="*/ 16383 h 120142"/>
              <a:gd name="connsiteX15" fmla="*/ 106679 w 130175"/>
              <a:gd name="connsiteY15" fmla="*/ 31496 h 120142"/>
              <a:gd name="connsiteX16" fmla="*/ 107441 w 130175"/>
              <a:gd name="connsiteY16" fmla="*/ 87630 h 120142"/>
              <a:gd name="connsiteX17" fmla="*/ 108838 w 130175"/>
              <a:gd name="connsiteY17" fmla="*/ 102235 h 120142"/>
              <a:gd name="connsiteX18" fmla="*/ 112902 w 130175"/>
              <a:gd name="connsiteY18" fmla="*/ 106426 h 120142"/>
              <a:gd name="connsiteX19" fmla="*/ 123697 w 130175"/>
              <a:gd name="connsiteY19" fmla="*/ 108077 h 120142"/>
              <a:gd name="connsiteX20" fmla="*/ 123825 w 130175"/>
              <a:gd name="connsiteY20" fmla="*/ 112395 h 120142"/>
              <a:gd name="connsiteX21" fmla="*/ 72516 w 130175"/>
              <a:gd name="connsiteY21" fmla="*/ 113030 h 120142"/>
              <a:gd name="connsiteX22" fmla="*/ 72516 w 130175"/>
              <a:gd name="connsiteY22" fmla="*/ 108711 h 120142"/>
              <a:gd name="connsiteX23" fmla="*/ 85216 w 130175"/>
              <a:gd name="connsiteY23" fmla="*/ 105029 h 120142"/>
              <a:gd name="connsiteX24" fmla="*/ 88264 w 130175"/>
              <a:gd name="connsiteY24" fmla="*/ 87883 h 120142"/>
              <a:gd name="connsiteX25" fmla="*/ 87629 w 130175"/>
              <a:gd name="connsiteY25" fmla="*/ 38100 h 120142"/>
              <a:gd name="connsiteX26" fmla="*/ 42544 w 130175"/>
              <a:gd name="connsiteY26" fmla="*/ 91694 h 120142"/>
              <a:gd name="connsiteX27" fmla="*/ 45465 w 130175"/>
              <a:gd name="connsiteY27" fmla="*/ 105155 h 120142"/>
              <a:gd name="connsiteX28" fmla="*/ 56514 w 130175"/>
              <a:gd name="connsiteY28" fmla="*/ 108839 h 120142"/>
              <a:gd name="connsiteX29" fmla="*/ 56514 w 130175"/>
              <a:gd name="connsiteY29" fmla="*/ 113157 h 120142"/>
              <a:gd name="connsiteX30" fmla="*/ 7619 w 130175"/>
              <a:gd name="connsiteY30" fmla="*/ 113792 h 120142"/>
              <a:gd name="connsiteX31" fmla="*/ 7619 w 130175"/>
              <a:gd name="connsiteY31" fmla="*/ 109474 h 120142"/>
              <a:gd name="connsiteX32" fmla="*/ 20701 w 130175"/>
              <a:gd name="connsiteY32" fmla="*/ 105536 h 120142"/>
              <a:gd name="connsiteX33" fmla="*/ 23367 w 130175"/>
              <a:gd name="connsiteY33" fmla="*/ 88646 h 120142"/>
              <a:gd name="connsiteX34" fmla="*/ 22732 w 130175"/>
              <a:gd name="connsiteY34" fmla="*/ 32511 h 120142"/>
              <a:gd name="connsiteX35" fmla="*/ 21208 w 130175"/>
              <a:gd name="connsiteY35" fmla="*/ 17907 h 120142"/>
              <a:gd name="connsiteX36" fmla="*/ 17271 w 130175"/>
              <a:gd name="connsiteY36" fmla="*/ 13843 h 120142"/>
              <a:gd name="connsiteX37" fmla="*/ 6350 w 130175"/>
              <a:gd name="connsiteY37" fmla="*/ 12192 h 120142"/>
              <a:gd name="connsiteX38" fmla="*/ 6350 w 130175"/>
              <a:gd name="connsiteY38" fmla="*/ 7747 h 120142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  <a:cxn ang="36">
                <a:pos x="connsiteX36" y="connsiteY36"/>
              </a:cxn>
              <a:cxn ang="37">
                <a:pos x="connsiteX37" y="connsiteY37"/>
              </a:cxn>
              <a:cxn ang="38">
                <a:pos x="connsiteX38" y="connsiteY38"/>
              </a:cxn>
            </a:cxnLst>
            <a:rect l="l" t="t" r="r" b="b"/>
            <a:pathLst>
              <a:path w="130175" h="120142">
                <a:moveTo>
                  <a:pt x="6350" y="7747"/>
                </a:moveTo>
                <a:lnTo>
                  <a:pt x="57530" y="7111"/>
                </a:lnTo>
                <a:lnTo>
                  <a:pt x="57657" y="11557"/>
                </a:lnTo>
                <a:cubicBezTo>
                  <a:pt x="52451" y="11683"/>
                  <a:pt x="49021" y="12192"/>
                  <a:pt x="47244" y="13208"/>
                </a:cubicBezTo>
                <a:cubicBezTo>
                  <a:pt x="45465" y="14351"/>
                  <a:pt x="44069" y="15621"/>
                  <a:pt x="43052" y="17145"/>
                </a:cubicBezTo>
                <a:cubicBezTo>
                  <a:pt x="42163" y="18669"/>
                  <a:pt x="41655" y="23749"/>
                  <a:pt x="41782" y="32258"/>
                </a:cubicBezTo>
                <a:lnTo>
                  <a:pt x="42417" y="80772"/>
                </a:lnTo>
                <a:lnTo>
                  <a:pt x="87502" y="27177"/>
                </a:lnTo>
                <a:cubicBezTo>
                  <a:pt x="87376" y="21208"/>
                  <a:pt x="86105" y="17145"/>
                  <a:pt x="84073" y="14858"/>
                </a:cubicBezTo>
                <a:cubicBezTo>
                  <a:pt x="81914" y="12573"/>
                  <a:pt x="78358" y="11430"/>
                  <a:pt x="73278" y="11430"/>
                </a:cubicBezTo>
                <a:lnTo>
                  <a:pt x="73151" y="6985"/>
                </a:lnTo>
                <a:lnTo>
                  <a:pt x="122427" y="6350"/>
                </a:lnTo>
                <a:lnTo>
                  <a:pt x="122554" y="10795"/>
                </a:lnTo>
                <a:cubicBezTo>
                  <a:pt x="117347" y="10795"/>
                  <a:pt x="113919" y="11430"/>
                  <a:pt x="112140" y="12446"/>
                </a:cubicBezTo>
                <a:cubicBezTo>
                  <a:pt x="110363" y="13461"/>
                  <a:pt x="108965" y="14858"/>
                  <a:pt x="108076" y="16383"/>
                </a:cubicBezTo>
                <a:cubicBezTo>
                  <a:pt x="107060" y="17907"/>
                  <a:pt x="106552" y="22986"/>
                  <a:pt x="106679" y="31496"/>
                </a:cubicBezTo>
                <a:lnTo>
                  <a:pt x="107441" y="87630"/>
                </a:lnTo>
                <a:cubicBezTo>
                  <a:pt x="107441" y="95885"/>
                  <a:pt x="107950" y="100711"/>
                  <a:pt x="108838" y="102235"/>
                </a:cubicBezTo>
                <a:cubicBezTo>
                  <a:pt x="109727" y="103886"/>
                  <a:pt x="110997" y="105283"/>
                  <a:pt x="112902" y="106426"/>
                </a:cubicBezTo>
                <a:cubicBezTo>
                  <a:pt x="114680" y="107569"/>
                  <a:pt x="118363" y="108077"/>
                  <a:pt x="123697" y="108077"/>
                </a:cubicBezTo>
                <a:lnTo>
                  <a:pt x="123825" y="112395"/>
                </a:lnTo>
                <a:lnTo>
                  <a:pt x="72516" y="113030"/>
                </a:lnTo>
                <a:lnTo>
                  <a:pt x="72516" y="108711"/>
                </a:lnTo>
                <a:cubicBezTo>
                  <a:pt x="78866" y="108585"/>
                  <a:pt x="83184" y="107442"/>
                  <a:pt x="85216" y="105029"/>
                </a:cubicBezTo>
                <a:cubicBezTo>
                  <a:pt x="87376" y="102616"/>
                  <a:pt x="88391" y="96901"/>
                  <a:pt x="88264" y="87883"/>
                </a:cubicBezTo>
                <a:lnTo>
                  <a:pt x="87629" y="38100"/>
                </a:lnTo>
                <a:lnTo>
                  <a:pt x="42544" y="91694"/>
                </a:lnTo>
                <a:cubicBezTo>
                  <a:pt x="42798" y="98298"/>
                  <a:pt x="43688" y="102743"/>
                  <a:pt x="45465" y="105155"/>
                </a:cubicBezTo>
                <a:cubicBezTo>
                  <a:pt x="47244" y="107696"/>
                  <a:pt x="50926" y="108839"/>
                  <a:pt x="56514" y="108839"/>
                </a:cubicBezTo>
                <a:lnTo>
                  <a:pt x="56514" y="113157"/>
                </a:lnTo>
                <a:lnTo>
                  <a:pt x="7619" y="113792"/>
                </a:lnTo>
                <a:lnTo>
                  <a:pt x="7619" y="109474"/>
                </a:lnTo>
                <a:cubicBezTo>
                  <a:pt x="14477" y="109347"/>
                  <a:pt x="18795" y="108077"/>
                  <a:pt x="20701" y="105536"/>
                </a:cubicBezTo>
                <a:cubicBezTo>
                  <a:pt x="22605" y="102997"/>
                  <a:pt x="23494" y="97408"/>
                  <a:pt x="23367" y="88646"/>
                </a:cubicBezTo>
                <a:lnTo>
                  <a:pt x="22732" y="32511"/>
                </a:lnTo>
                <a:cubicBezTo>
                  <a:pt x="22605" y="24257"/>
                  <a:pt x="22097" y="19304"/>
                  <a:pt x="21208" y="17907"/>
                </a:cubicBezTo>
                <a:cubicBezTo>
                  <a:pt x="20446" y="16383"/>
                  <a:pt x="19050" y="14986"/>
                  <a:pt x="17271" y="13843"/>
                </a:cubicBezTo>
                <a:cubicBezTo>
                  <a:pt x="15494" y="12700"/>
                  <a:pt x="11810" y="12065"/>
                  <a:pt x="6350" y="12192"/>
                </a:cubicBezTo>
                <a:lnTo>
                  <a:pt x="6350" y="7747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26" name="Freeform 3"/>
          <p:cNvSpPr/>
          <p:nvPr/>
        </p:nvSpPr>
        <p:spPr>
          <a:xfrm>
            <a:off x="4499636" y="1732397"/>
            <a:ext cx="64473" cy="99328"/>
          </a:xfrm>
          <a:custGeom>
            <a:avLst/>
            <a:gdLst>
              <a:gd name="connsiteX0" fmla="*/ 31115 w 65786"/>
              <a:gd name="connsiteY0" fmla="*/ 6350 h 101346"/>
              <a:gd name="connsiteX1" fmla="*/ 20066 w 65786"/>
              <a:gd name="connsiteY1" fmla="*/ 9144 h 101346"/>
              <a:gd name="connsiteX2" fmla="*/ 6350 w 65786"/>
              <a:gd name="connsiteY2" fmla="*/ 21717 h 101346"/>
              <a:gd name="connsiteX3" fmla="*/ 6477 w 65786"/>
              <a:gd name="connsiteY3" fmla="*/ 61341 h 101346"/>
              <a:gd name="connsiteX4" fmla="*/ 7492 w 65786"/>
              <a:gd name="connsiteY4" fmla="*/ 78232 h 101346"/>
              <a:gd name="connsiteX5" fmla="*/ 15494 w 65786"/>
              <a:gd name="connsiteY5" fmla="*/ 89916 h 101346"/>
              <a:gd name="connsiteX6" fmla="*/ 31369 w 65786"/>
              <a:gd name="connsiteY6" fmla="*/ 94996 h 101346"/>
              <a:gd name="connsiteX7" fmla="*/ 50165 w 65786"/>
              <a:gd name="connsiteY7" fmla="*/ 85979 h 101346"/>
              <a:gd name="connsiteX8" fmla="*/ 59436 w 65786"/>
              <a:gd name="connsiteY8" fmla="*/ 52705 h 101346"/>
              <a:gd name="connsiteX9" fmla="*/ 48767 w 65786"/>
              <a:gd name="connsiteY9" fmla="*/ 15367 h 101346"/>
              <a:gd name="connsiteX10" fmla="*/ 31115 w 65786"/>
              <a:gd name="connsiteY10" fmla="*/ 6350 h 10134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</a:cxnLst>
            <a:rect l="l" t="t" r="r" b="b"/>
            <a:pathLst>
              <a:path w="65786" h="101346">
                <a:moveTo>
                  <a:pt x="31115" y="6350"/>
                </a:moveTo>
                <a:cubicBezTo>
                  <a:pt x="27432" y="6350"/>
                  <a:pt x="23749" y="7366"/>
                  <a:pt x="20066" y="9144"/>
                </a:cubicBezTo>
                <a:cubicBezTo>
                  <a:pt x="17399" y="10541"/>
                  <a:pt x="12700" y="14732"/>
                  <a:pt x="6350" y="21717"/>
                </a:cubicBezTo>
                <a:lnTo>
                  <a:pt x="6477" y="61341"/>
                </a:lnTo>
                <a:cubicBezTo>
                  <a:pt x="6477" y="69850"/>
                  <a:pt x="6858" y="75438"/>
                  <a:pt x="7492" y="78232"/>
                </a:cubicBezTo>
                <a:cubicBezTo>
                  <a:pt x="8636" y="82677"/>
                  <a:pt x="11303" y="86614"/>
                  <a:pt x="15494" y="89916"/>
                </a:cubicBezTo>
                <a:cubicBezTo>
                  <a:pt x="19685" y="93345"/>
                  <a:pt x="25019" y="94996"/>
                  <a:pt x="31369" y="94996"/>
                </a:cubicBezTo>
                <a:cubicBezTo>
                  <a:pt x="39116" y="94996"/>
                  <a:pt x="45339" y="91948"/>
                  <a:pt x="50165" y="85979"/>
                </a:cubicBezTo>
                <a:cubicBezTo>
                  <a:pt x="56388" y="78105"/>
                  <a:pt x="59436" y="66929"/>
                  <a:pt x="59436" y="52705"/>
                </a:cubicBezTo>
                <a:cubicBezTo>
                  <a:pt x="59436" y="36576"/>
                  <a:pt x="55880" y="24130"/>
                  <a:pt x="48767" y="15367"/>
                </a:cubicBezTo>
                <a:cubicBezTo>
                  <a:pt x="43815" y="9398"/>
                  <a:pt x="37846" y="6350"/>
                  <a:pt x="31115" y="6350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27" name="Freeform 3"/>
          <p:cNvSpPr/>
          <p:nvPr/>
        </p:nvSpPr>
        <p:spPr>
          <a:xfrm>
            <a:off x="4463044" y="1715968"/>
            <a:ext cx="121228" cy="169156"/>
          </a:xfrm>
          <a:custGeom>
            <a:avLst/>
            <a:gdLst>
              <a:gd name="connsiteX0" fmla="*/ 77597 w 123698"/>
              <a:gd name="connsiteY0" fmla="*/ 6350 h 172592"/>
              <a:gd name="connsiteX1" fmla="*/ 104140 w 123698"/>
              <a:gd name="connsiteY1" fmla="*/ 18795 h 172592"/>
              <a:gd name="connsiteX2" fmla="*/ 117348 w 123698"/>
              <a:gd name="connsiteY2" fmla="*/ 58547 h 172592"/>
              <a:gd name="connsiteX3" fmla="*/ 101727 w 123698"/>
              <a:gd name="connsiteY3" fmla="*/ 104013 h 172592"/>
              <a:gd name="connsiteX4" fmla="*/ 69088 w 123698"/>
              <a:gd name="connsiteY4" fmla="*/ 118745 h 172592"/>
              <a:gd name="connsiteX5" fmla="*/ 54355 w 123698"/>
              <a:gd name="connsiteY5" fmla="*/ 116332 h 172592"/>
              <a:gd name="connsiteX6" fmla="*/ 43815 w 123698"/>
              <a:gd name="connsiteY6" fmla="*/ 109347 h 172592"/>
              <a:gd name="connsiteX7" fmla="*/ 43942 w 123698"/>
              <a:gd name="connsiteY7" fmla="*/ 141732 h 172592"/>
              <a:gd name="connsiteX8" fmla="*/ 45339 w 123698"/>
              <a:gd name="connsiteY8" fmla="*/ 155448 h 172592"/>
              <a:gd name="connsiteX9" fmla="*/ 49911 w 123698"/>
              <a:gd name="connsiteY9" fmla="*/ 160147 h 172592"/>
              <a:gd name="connsiteX10" fmla="*/ 61976 w 123698"/>
              <a:gd name="connsiteY10" fmla="*/ 161925 h 172592"/>
              <a:gd name="connsiteX11" fmla="*/ 61976 w 123698"/>
              <a:gd name="connsiteY11" fmla="*/ 166116 h 172592"/>
              <a:gd name="connsiteX12" fmla="*/ 6350 w 123698"/>
              <a:gd name="connsiteY12" fmla="*/ 166242 h 172592"/>
              <a:gd name="connsiteX13" fmla="*/ 6350 w 123698"/>
              <a:gd name="connsiteY13" fmla="*/ 162051 h 172592"/>
              <a:gd name="connsiteX14" fmla="*/ 9271 w 123698"/>
              <a:gd name="connsiteY14" fmla="*/ 162051 h 172592"/>
              <a:gd name="connsiteX15" fmla="*/ 20193 w 123698"/>
              <a:gd name="connsiteY15" fmla="*/ 159511 h 172592"/>
              <a:gd name="connsiteX16" fmla="*/ 23495 w 123698"/>
              <a:gd name="connsiteY16" fmla="*/ 155448 h 172592"/>
              <a:gd name="connsiteX17" fmla="*/ 24765 w 123698"/>
              <a:gd name="connsiteY17" fmla="*/ 140970 h 172592"/>
              <a:gd name="connsiteX18" fmla="*/ 24511 w 123698"/>
              <a:gd name="connsiteY18" fmla="*/ 40767 h 172592"/>
              <a:gd name="connsiteX19" fmla="*/ 23495 w 123698"/>
              <a:gd name="connsiteY19" fmla="*/ 27813 h 172592"/>
              <a:gd name="connsiteX20" fmla="*/ 20574 w 123698"/>
              <a:gd name="connsiteY20" fmla="*/ 23622 h 172592"/>
              <a:gd name="connsiteX21" fmla="*/ 15113 w 123698"/>
              <a:gd name="connsiteY21" fmla="*/ 22225 h 172592"/>
              <a:gd name="connsiteX22" fmla="*/ 8001 w 123698"/>
              <a:gd name="connsiteY22" fmla="*/ 23876 h 172592"/>
              <a:gd name="connsiteX23" fmla="*/ 6604 w 123698"/>
              <a:gd name="connsiteY23" fmla="*/ 20192 h 172592"/>
              <a:gd name="connsiteX24" fmla="*/ 39243 w 123698"/>
              <a:gd name="connsiteY24" fmla="*/ 6857 h 172592"/>
              <a:gd name="connsiteX25" fmla="*/ 43688 w 123698"/>
              <a:gd name="connsiteY25" fmla="*/ 6857 h 172592"/>
              <a:gd name="connsiteX26" fmla="*/ 43688 w 123698"/>
              <a:gd name="connsiteY26" fmla="*/ 31623 h 172592"/>
              <a:gd name="connsiteX27" fmla="*/ 60198 w 123698"/>
              <a:gd name="connsiteY27" fmla="*/ 11938 h 172592"/>
              <a:gd name="connsiteX28" fmla="*/ 77597 w 123698"/>
              <a:gd name="connsiteY28" fmla="*/ 6350 h 172592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</a:cxnLst>
            <a:rect l="l" t="t" r="r" b="b"/>
            <a:pathLst>
              <a:path w="123698" h="172592">
                <a:moveTo>
                  <a:pt x="77597" y="6350"/>
                </a:moveTo>
                <a:cubicBezTo>
                  <a:pt x="88138" y="6350"/>
                  <a:pt x="97028" y="10413"/>
                  <a:pt x="104140" y="18795"/>
                </a:cubicBezTo>
                <a:cubicBezTo>
                  <a:pt x="112903" y="28955"/>
                  <a:pt x="117348" y="42163"/>
                  <a:pt x="117348" y="58547"/>
                </a:cubicBezTo>
                <a:cubicBezTo>
                  <a:pt x="117348" y="76835"/>
                  <a:pt x="112141" y="91948"/>
                  <a:pt x="101727" y="104013"/>
                </a:cubicBezTo>
                <a:cubicBezTo>
                  <a:pt x="93091" y="113792"/>
                  <a:pt x="82169" y="118745"/>
                  <a:pt x="69088" y="118745"/>
                </a:cubicBezTo>
                <a:cubicBezTo>
                  <a:pt x="63373" y="118745"/>
                  <a:pt x="58420" y="117982"/>
                  <a:pt x="54355" y="116332"/>
                </a:cubicBezTo>
                <a:cubicBezTo>
                  <a:pt x="51180" y="115188"/>
                  <a:pt x="47752" y="112902"/>
                  <a:pt x="43815" y="109347"/>
                </a:cubicBezTo>
                <a:lnTo>
                  <a:pt x="43942" y="141732"/>
                </a:lnTo>
                <a:cubicBezTo>
                  <a:pt x="43942" y="148970"/>
                  <a:pt x="44450" y="153542"/>
                  <a:pt x="45339" y="155448"/>
                </a:cubicBezTo>
                <a:cubicBezTo>
                  <a:pt x="46228" y="157479"/>
                  <a:pt x="47752" y="159004"/>
                  <a:pt x="49911" y="160147"/>
                </a:cubicBezTo>
                <a:cubicBezTo>
                  <a:pt x="52197" y="161289"/>
                  <a:pt x="56134" y="161925"/>
                  <a:pt x="61976" y="161925"/>
                </a:cubicBezTo>
                <a:lnTo>
                  <a:pt x="61976" y="166116"/>
                </a:lnTo>
                <a:lnTo>
                  <a:pt x="6350" y="166242"/>
                </a:lnTo>
                <a:lnTo>
                  <a:pt x="6350" y="162051"/>
                </a:lnTo>
                <a:lnTo>
                  <a:pt x="9271" y="162051"/>
                </a:lnTo>
                <a:cubicBezTo>
                  <a:pt x="13462" y="162051"/>
                  <a:pt x="17145" y="161289"/>
                  <a:pt x="20193" y="159511"/>
                </a:cubicBezTo>
                <a:cubicBezTo>
                  <a:pt x="21590" y="158750"/>
                  <a:pt x="22733" y="157352"/>
                  <a:pt x="23495" y="155448"/>
                </a:cubicBezTo>
                <a:cubicBezTo>
                  <a:pt x="24384" y="153542"/>
                  <a:pt x="24765" y="148717"/>
                  <a:pt x="24765" y="140970"/>
                </a:cubicBezTo>
                <a:lnTo>
                  <a:pt x="24511" y="40767"/>
                </a:lnTo>
                <a:cubicBezTo>
                  <a:pt x="24511" y="33908"/>
                  <a:pt x="24130" y="29591"/>
                  <a:pt x="23495" y="27813"/>
                </a:cubicBezTo>
                <a:cubicBezTo>
                  <a:pt x="22987" y="25907"/>
                  <a:pt x="21971" y="24510"/>
                  <a:pt x="20574" y="23622"/>
                </a:cubicBezTo>
                <a:cubicBezTo>
                  <a:pt x="19304" y="22732"/>
                  <a:pt x="17399" y="22225"/>
                  <a:pt x="15113" y="22225"/>
                </a:cubicBezTo>
                <a:cubicBezTo>
                  <a:pt x="13208" y="22225"/>
                  <a:pt x="10922" y="22732"/>
                  <a:pt x="8001" y="23876"/>
                </a:cubicBezTo>
                <a:lnTo>
                  <a:pt x="6604" y="20192"/>
                </a:lnTo>
                <a:lnTo>
                  <a:pt x="39243" y="6857"/>
                </a:lnTo>
                <a:lnTo>
                  <a:pt x="43688" y="6857"/>
                </a:lnTo>
                <a:lnTo>
                  <a:pt x="43688" y="31623"/>
                </a:lnTo>
                <a:cubicBezTo>
                  <a:pt x="49149" y="22351"/>
                  <a:pt x="54610" y="15748"/>
                  <a:pt x="60198" y="11938"/>
                </a:cubicBezTo>
                <a:cubicBezTo>
                  <a:pt x="65659" y="8254"/>
                  <a:pt x="71501" y="6350"/>
                  <a:pt x="77597" y="6350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28" name="Freeform 3"/>
          <p:cNvSpPr/>
          <p:nvPr/>
        </p:nvSpPr>
        <p:spPr>
          <a:xfrm>
            <a:off x="4608793" y="1723685"/>
            <a:ext cx="70446" cy="107170"/>
          </a:xfrm>
          <a:custGeom>
            <a:avLst/>
            <a:gdLst>
              <a:gd name="connsiteX0" fmla="*/ 32892 w 71881"/>
              <a:gd name="connsiteY0" fmla="*/ 6350 h 109347"/>
              <a:gd name="connsiteX1" fmla="*/ 20446 w 71881"/>
              <a:gd name="connsiteY1" fmla="*/ 9905 h 109347"/>
              <a:gd name="connsiteX2" fmla="*/ 10413 w 71881"/>
              <a:gd name="connsiteY2" fmla="*/ 22605 h 109347"/>
              <a:gd name="connsiteX3" fmla="*/ 6350 w 71881"/>
              <a:gd name="connsiteY3" fmla="*/ 45974 h 109347"/>
              <a:gd name="connsiteX4" fmla="*/ 15239 w 71881"/>
              <a:gd name="connsiteY4" fmla="*/ 85979 h 109347"/>
              <a:gd name="connsiteX5" fmla="*/ 39370 w 71881"/>
              <a:gd name="connsiteY5" fmla="*/ 102997 h 109347"/>
              <a:gd name="connsiteX6" fmla="*/ 58038 w 71881"/>
              <a:gd name="connsiteY6" fmla="*/ 93852 h 109347"/>
              <a:gd name="connsiteX7" fmla="*/ 65532 w 71881"/>
              <a:gd name="connsiteY7" fmla="*/ 62102 h 109347"/>
              <a:gd name="connsiteX8" fmla="*/ 53720 w 71881"/>
              <a:gd name="connsiteY8" fmla="*/ 17526 h 109347"/>
              <a:gd name="connsiteX9" fmla="*/ 32892 w 71881"/>
              <a:gd name="connsiteY9" fmla="*/ 6350 h 10934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</a:cxnLst>
            <a:rect l="l" t="t" r="r" b="b"/>
            <a:pathLst>
              <a:path w="71881" h="109347">
                <a:moveTo>
                  <a:pt x="32892" y="6350"/>
                </a:moveTo>
                <a:cubicBezTo>
                  <a:pt x="28701" y="6223"/>
                  <a:pt x="24638" y="7493"/>
                  <a:pt x="20446" y="9905"/>
                </a:cubicBezTo>
                <a:cubicBezTo>
                  <a:pt x="16382" y="12319"/>
                  <a:pt x="12953" y="16510"/>
                  <a:pt x="10413" y="22605"/>
                </a:cubicBezTo>
                <a:cubicBezTo>
                  <a:pt x="7746" y="28702"/>
                  <a:pt x="6476" y="36449"/>
                  <a:pt x="6350" y="45974"/>
                </a:cubicBezTo>
                <a:cubicBezTo>
                  <a:pt x="6222" y="61468"/>
                  <a:pt x="9270" y="74802"/>
                  <a:pt x="15239" y="85979"/>
                </a:cubicBezTo>
                <a:cubicBezTo>
                  <a:pt x="21335" y="97282"/>
                  <a:pt x="29336" y="102870"/>
                  <a:pt x="39370" y="102997"/>
                </a:cubicBezTo>
                <a:cubicBezTo>
                  <a:pt x="46863" y="102997"/>
                  <a:pt x="53085" y="99949"/>
                  <a:pt x="58038" y="93852"/>
                </a:cubicBezTo>
                <a:cubicBezTo>
                  <a:pt x="62864" y="87757"/>
                  <a:pt x="65404" y="77089"/>
                  <a:pt x="65532" y="62102"/>
                </a:cubicBezTo>
                <a:cubicBezTo>
                  <a:pt x="65658" y="43307"/>
                  <a:pt x="61721" y="28448"/>
                  <a:pt x="53720" y="17526"/>
                </a:cubicBezTo>
                <a:cubicBezTo>
                  <a:pt x="48259" y="10160"/>
                  <a:pt x="41275" y="6350"/>
                  <a:pt x="32892" y="6350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29" name="Freeform 3"/>
          <p:cNvSpPr/>
          <p:nvPr/>
        </p:nvSpPr>
        <p:spPr>
          <a:xfrm>
            <a:off x="4587633" y="1716340"/>
            <a:ext cx="112765" cy="122480"/>
          </a:xfrm>
          <a:custGeom>
            <a:avLst/>
            <a:gdLst>
              <a:gd name="connsiteX0" fmla="*/ 58039 w 115062"/>
              <a:gd name="connsiteY0" fmla="*/ 6350 h 124968"/>
              <a:gd name="connsiteX1" fmla="*/ 96647 w 115062"/>
              <a:gd name="connsiteY1" fmla="*/ 24892 h 124968"/>
              <a:gd name="connsiteX2" fmla="*/ 108711 w 115062"/>
              <a:gd name="connsiteY2" fmla="*/ 60832 h 124968"/>
              <a:gd name="connsiteX3" fmla="*/ 101600 w 115062"/>
              <a:gd name="connsiteY3" fmla="*/ 89661 h 124968"/>
              <a:gd name="connsiteX4" fmla="*/ 82677 w 115062"/>
              <a:gd name="connsiteY4" fmla="*/ 111505 h 124968"/>
              <a:gd name="connsiteX5" fmla="*/ 56007 w 115062"/>
              <a:gd name="connsiteY5" fmla="*/ 118617 h 124968"/>
              <a:gd name="connsiteX6" fmla="*/ 18034 w 115062"/>
              <a:gd name="connsiteY6" fmla="*/ 99314 h 124968"/>
              <a:gd name="connsiteX7" fmla="*/ 6350 w 115062"/>
              <a:gd name="connsiteY7" fmla="*/ 63119 h 124968"/>
              <a:gd name="connsiteX8" fmla="*/ 13842 w 115062"/>
              <a:gd name="connsiteY8" fmla="*/ 34163 h 124968"/>
              <a:gd name="connsiteX9" fmla="*/ 33020 w 115062"/>
              <a:gd name="connsiteY9" fmla="*/ 12954 h 124968"/>
              <a:gd name="connsiteX10" fmla="*/ 58039 w 115062"/>
              <a:gd name="connsiteY10" fmla="*/ 6350 h 12496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</a:cxnLst>
            <a:rect l="l" t="t" r="r" b="b"/>
            <a:pathLst>
              <a:path w="115062" h="124968">
                <a:moveTo>
                  <a:pt x="58039" y="6350"/>
                </a:moveTo>
                <a:cubicBezTo>
                  <a:pt x="74167" y="6476"/>
                  <a:pt x="86995" y="12573"/>
                  <a:pt x="96647" y="24892"/>
                </a:cubicBezTo>
                <a:cubicBezTo>
                  <a:pt x="104775" y="35305"/>
                  <a:pt x="108839" y="47370"/>
                  <a:pt x="108711" y="60832"/>
                </a:cubicBezTo>
                <a:cubicBezTo>
                  <a:pt x="108585" y="70357"/>
                  <a:pt x="106298" y="79882"/>
                  <a:pt x="101600" y="89661"/>
                </a:cubicBezTo>
                <a:cubicBezTo>
                  <a:pt x="97028" y="99314"/>
                  <a:pt x="90678" y="106552"/>
                  <a:pt x="82677" y="111505"/>
                </a:cubicBezTo>
                <a:cubicBezTo>
                  <a:pt x="74676" y="116332"/>
                  <a:pt x="65785" y="118745"/>
                  <a:pt x="56007" y="118617"/>
                </a:cubicBezTo>
                <a:cubicBezTo>
                  <a:pt x="40004" y="118491"/>
                  <a:pt x="27304" y="112014"/>
                  <a:pt x="18034" y="99314"/>
                </a:cubicBezTo>
                <a:cubicBezTo>
                  <a:pt x="10160" y="88519"/>
                  <a:pt x="6350" y="76454"/>
                  <a:pt x="6350" y="63119"/>
                </a:cubicBezTo>
                <a:cubicBezTo>
                  <a:pt x="6477" y="53339"/>
                  <a:pt x="8890" y="43688"/>
                  <a:pt x="13842" y="34163"/>
                </a:cubicBezTo>
                <a:cubicBezTo>
                  <a:pt x="18796" y="24638"/>
                  <a:pt x="25146" y="17526"/>
                  <a:pt x="33020" y="12954"/>
                </a:cubicBezTo>
                <a:cubicBezTo>
                  <a:pt x="40894" y="8508"/>
                  <a:pt x="49276" y="6223"/>
                  <a:pt x="58039" y="6350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30" name="Freeform 3"/>
          <p:cNvSpPr/>
          <p:nvPr/>
        </p:nvSpPr>
        <p:spPr>
          <a:xfrm>
            <a:off x="4735000" y="1774469"/>
            <a:ext cx="52897" cy="55141"/>
          </a:xfrm>
          <a:custGeom>
            <a:avLst/>
            <a:gdLst>
              <a:gd name="connsiteX0" fmla="*/ 15240 w 53975"/>
              <a:gd name="connsiteY0" fmla="*/ 6350 h 56261"/>
              <a:gd name="connsiteX1" fmla="*/ 7111 w 53975"/>
              <a:gd name="connsiteY1" fmla="*/ 6477 h 56261"/>
              <a:gd name="connsiteX2" fmla="*/ 6350 w 53975"/>
              <a:gd name="connsiteY2" fmla="*/ 47879 h 56261"/>
              <a:gd name="connsiteX3" fmla="*/ 20066 w 53975"/>
              <a:gd name="connsiteY3" fmla="*/ 49911 h 56261"/>
              <a:gd name="connsiteX4" fmla="*/ 40640 w 53975"/>
              <a:gd name="connsiteY4" fmla="*/ 44323 h 56261"/>
              <a:gd name="connsiteX5" fmla="*/ 47625 w 53975"/>
              <a:gd name="connsiteY5" fmla="*/ 28955 h 56261"/>
              <a:gd name="connsiteX6" fmla="*/ 39242 w 53975"/>
              <a:gd name="connsiteY6" fmla="*/ 12445 h 56261"/>
              <a:gd name="connsiteX7" fmla="*/ 15240 w 53975"/>
              <a:gd name="connsiteY7" fmla="*/ 6350 h 5626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53975" h="56261">
                <a:moveTo>
                  <a:pt x="15240" y="6350"/>
                </a:moveTo>
                <a:cubicBezTo>
                  <a:pt x="12700" y="6350"/>
                  <a:pt x="10033" y="6350"/>
                  <a:pt x="7111" y="6477"/>
                </a:cubicBezTo>
                <a:lnTo>
                  <a:pt x="6350" y="47879"/>
                </a:lnTo>
                <a:cubicBezTo>
                  <a:pt x="10160" y="49148"/>
                  <a:pt x="14732" y="49911"/>
                  <a:pt x="20066" y="49911"/>
                </a:cubicBezTo>
                <a:cubicBezTo>
                  <a:pt x="29336" y="50164"/>
                  <a:pt x="36195" y="48260"/>
                  <a:pt x="40640" y="44323"/>
                </a:cubicBezTo>
                <a:cubicBezTo>
                  <a:pt x="45211" y="40386"/>
                  <a:pt x="47498" y="35179"/>
                  <a:pt x="47625" y="28955"/>
                </a:cubicBezTo>
                <a:cubicBezTo>
                  <a:pt x="47752" y="21844"/>
                  <a:pt x="44958" y="16383"/>
                  <a:pt x="39242" y="12445"/>
                </a:cubicBezTo>
                <a:cubicBezTo>
                  <a:pt x="33528" y="8636"/>
                  <a:pt x="25527" y="6604"/>
                  <a:pt x="15240" y="6350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31" name="Freeform 3"/>
          <p:cNvSpPr/>
          <p:nvPr/>
        </p:nvSpPr>
        <p:spPr>
          <a:xfrm>
            <a:off x="4735871" y="1727917"/>
            <a:ext cx="48167" cy="51655"/>
          </a:xfrm>
          <a:custGeom>
            <a:avLst/>
            <a:gdLst>
              <a:gd name="connsiteX0" fmla="*/ 6984 w 49148"/>
              <a:gd name="connsiteY0" fmla="*/ 6350 h 52704"/>
              <a:gd name="connsiteX1" fmla="*/ 6350 w 49148"/>
              <a:gd name="connsiteY1" fmla="*/ 46100 h 52704"/>
              <a:gd name="connsiteX2" fmla="*/ 12446 w 49148"/>
              <a:gd name="connsiteY2" fmla="*/ 46354 h 52704"/>
              <a:gd name="connsiteX3" fmla="*/ 35433 w 49148"/>
              <a:gd name="connsiteY3" fmla="*/ 40639 h 52704"/>
              <a:gd name="connsiteX4" fmla="*/ 42798 w 49148"/>
              <a:gd name="connsiteY4" fmla="*/ 26034 h 52704"/>
              <a:gd name="connsiteX5" fmla="*/ 35814 w 49148"/>
              <a:gd name="connsiteY5" fmla="*/ 11302 h 52704"/>
              <a:gd name="connsiteX6" fmla="*/ 13080 w 49148"/>
              <a:gd name="connsiteY6" fmla="*/ 6350 h 52704"/>
              <a:gd name="connsiteX7" fmla="*/ 6984 w 49148"/>
              <a:gd name="connsiteY7" fmla="*/ 6350 h 5270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49148" h="52704">
                <a:moveTo>
                  <a:pt x="6984" y="6350"/>
                </a:moveTo>
                <a:lnTo>
                  <a:pt x="6350" y="46100"/>
                </a:lnTo>
                <a:cubicBezTo>
                  <a:pt x="9778" y="46227"/>
                  <a:pt x="11810" y="46354"/>
                  <a:pt x="12446" y="46354"/>
                </a:cubicBezTo>
                <a:cubicBezTo>
                  <a:pt x="22986" y="46481"/>
                  <a:pt x="30734" y="44576"/>
                  <a:pt x="35433" y="40639"/>
                </a:cubicBezTo>
                <a:cubicBezTo>
                  <a:pt x="40259" y="36702"/>
                  <a:pt x="42671" y="31750"/>
                  <a:pt x="42798" y="26034"/>
                </a:cubicBezTo>
                <a:cubicBezTo>
                  <a:pt x="42926" y="19303"/>
                  <a:pt x="40640" y="14350"/>
                  <a:pt x="35814" y="11302"/>
                </a:cubicBezTo>
                <a:cubicBezTo>
                  <a:pt x="31115" y="8254"/>
                  <a:pt x="23495" y="6603"/>
                  <a:pt x="13080" y="6350"/>
                </a:cubicBezTo>
                <a:lnTo>
                  <a:pt x="6984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32" name="Freeform 3"/>
          <p:cNvSpPr/>
          <p:nvPr/>
        </p:nvSpPr>
        <p:spPr>
          <a:xfrm>
            <a:off x="4700648" y="1719950"/>
            <a:ext cx="109031" cy="117128"/>
          </a:xfrm>
          <a:custGeom>
            <a:avLst/>
            <a:gdLst>
              <a:gd name="connsiteX0" fmla="*/ 8127 w 111252"/>
              <a:gd name="connsiteY0" fmla="*/ 6350 h 119507"/>
              <a:gd name="connsiteX1" fmla="*/ 56895 w 111252"/>
              <a:gd name="connsiteY1" fmla="*/ 7112 h 119507"/>
              <a:gd name="connsiteX2" fmla="*/ 79755 w 111252"/>
              <a:gd name="connsiteY2" fmla="*/ 9779 h 119507"/>
              <a:gd name="connsiteX3" fmla="*/ 93979 w 111252"/>
              <a:gd name="connsiteY3" fmla="*/ 18669 h 119507"/>
              <a:gd name="connsiteX4" fmla="*/ 99313 w 111252"/>
              <a:gd name="connsiteY4" fmla="*/ 34544 h 119507"/>
              <a:gd name="connsiteX5" fmla="*/ 76326 w 111252"/>
              <a:gd name="connsiteY5" fmla="*/ 57531 h 119507"/>
              <a:gd name="connsiteX6" fmla="*/ 104901 w 111252"/>
              <a:gd name="connsiteY6" fmla="*/ 85090 h 119507"/>
              <a:gd name="connsiteX7" fmla="*/ 92455 w 111252"/>
              <a:gd name="connsiteY7" fmla="*/ 106553 h 119507"/>
              <a:gd name="connsiteX8" fmla="*/ 58673 w 111252"/>
              <a:gd name="connsiteY8" fmla="*/ 113157 h 119507"/>
              <a:gd name="connsiteX9" fmla="*/ 6350 w 111252"/>
              <a:gd name="connsiteY9" fmla="*/ 112268 h 119507"/>
              <a:gd name="connsiteX10" fmla="*/ 6350 w 111252"/>
              <a:gd name="connsiteY10" fmla="*/ 107950 h 119507"/>
              <a:gd name="connsiteX11" fmla="*/ 19430 w 111252"/>
              <a:gd name="connsiteY11" fmla="*/ 104394 h 119507"/>
              <a:gd name="connsiteX12" fmla="*/ 22478 w 111252"/>
              <a:gd name="connsiteY12" fmla="*/ 87630 h 119507"/>
              <a:gd name="connsiteX13" fmla="*/ 23494 w 111252"/>
              <a:gd name="connsiteY13" fmla="*/ 31496 h 119507"/>
              <a:gd name="connsiteX14" fmla="*/ 22478 w 111252"/>
              <a:gd name="connsiteY14" fmla="*/ 16764 h 119507"/>
              <a:gd name="connsiteX15" fmla="*/ 18669 w 111252"/>
              <a:gd name="connsiteY15" fmla="*/ 12700 h 119507"/>
              <a:gd name="connsiteX16" fmla="*/ 8000 w 111252"/>
              <a:gd name="connsiteY16" fmla="*/ 10668 h 119507"/>
              <a:gd name="connsiteX17" fmla="*/ 8127 w 111252"/>
              <a:gd name="connsiteY17" fmla="*/ 6350 h 11950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</a:cxnLst>
            <a:rect l="l" t="t" r="r" b="b"/>
            <a:pathLst>
              <a:path w="111252" h="119507">
                <a:moveTo>
                  <a:pt x="8127" y="6350"/>
                </a:moveTo>
                <a:lnTo>
                  <a:pt x="56895" y="7112"/>
                </a:lnTo>
                <a:cubicBezTo>
                  <a:pt x="66420" y="7366"/>
                  <a:pt x="73913" y="8128"/>
                  <a:pt x="79755" y="9779"/>
                </a:cubicBezTo>
                <a:cubicBezTo>
                  <a:pt x="85597" y="11303"/>
                  <a:pt x="90296" y="14224"/>
                  <a:pt x="93979" y="18669"/>
                </a:cubicBezTo>
                <a:cubicBezTo>
                  <a:pt x="97662" y="22987"/>
                  <a:pt x="99440" y="28321"/>
                  <a:pt x="99313" y="34544"/>
                </a:cubicBezTo>
                <a:cubicBezTo>
                  <a:pt x="99059" y="46482"/>
                  <a:pt x="91439" y="54229"/>
                  <a:pt x="76326" y="57531"/>
                </a:cubicBezTo>
                <a:cubicBezTo>
                  <a:pt x="95630" y="61849"/>
                  <a:pt x="105155" y="70993"/>
                  <a:pt x="104901" y="85090"/>
                </a:cubicBezTo>
                <a:cubicBezTo>
                  <a:pt x="104775" y="94742"/>
                  <a:pt x="100583" y="101981"/>
                  <a:pt x="92455" y="106553"/>
                </a:cubicBezTo>
                <a:cubicBezTo>
                  <a:pt x="84327" y="111252"/>
                  <a:pt x="73025" y="113411"/>
                  <a:pt x="58673" y="113157"/>
                </a:cubicBezTo>
                <a:lnTo>
                  <a:pt x="6350" y="112268"/>
                </a:lnTo>
                <a:lnTo>
                  <a:pt x="6350" y="107950"/>
                </a:lnTo>
                <a:cubicBezTo>
                  <a:pt x="13207" y="108077"/>
                  <a:pt x="17652" y="106934"/>
                  <a:pt x="19430" y="104394"/>
                </a:cubicBezTo>
                <a:cubicBezTo>
                  <a:pt x="21335" y="101854"/>
                  <a:pt x="22351" y="96266"/>
                  <a:pt x="22478" y="87630"/>
                </a:cubicBezTo>
                <a:lnTo>
                  <a:pt x="23494" y="31496"/>
                </a:lnTo>
                <a:cubicBezTo>
                  <a:pt x="23621" y="23114"/>
                  <a:pt x="23240" y="18288"/>
                  <a:pt x="22478" y="16764"/>
                </a:cubicBezTo>
                <a:cubicBezTo>
                  <a:pt x="21716" y="15240"/>
                  <a:pt x="20446" y="13970"/>
                  <a:pt x="18669" y="12700"/>
                </a:cubicBezTo>
                <a:cubicBezTo>
                  <a:pt x="17017" y="11430"/>
                  <a:pt x="13461" y="10795"/>
                  <a:pt x="8000" y="10668"/>
                </a:cubicBezTo>
                <a:lnTo>
                  <a:pt x="8127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33" name="Freeform 3"/>
          <p:cNvSpPr/>
          <p:nvPr/>
        </p:nvSpPr>
        <p:spPr>
          <a:xfrm>
            <a:off x="4828598" y="1765259"/>
            <a:ext cx="52025" cy="62733"/>
          </a:xfrm>
          <a:custGeom>
            <a:avLst/>
            <a:gdLst>
              <a:gd name="connsiteX0" fmla="*/ 46735 w 53085"/>
              <a:gd name="connsiteY0" fmla="*/ 6350 h 64007"/>
              <a:gd name="connsiteX1" fmla="*/ 23875 w 53085"/>
              <a:gd name="connsiteY1" fmla="*/ 15620 h 64007"/>
              <a:gd name="connsiteX2" fmla="*/ 10540 w 53085"/>
              <a:gd name="connsiteY2" fmla="*/ 25907 h 64007"/>
              <a:gd name="connsiteX3" fmla="*/ 6350 w 53085"/>
              <a:gd name="connsiteY3" fmla="*/ 37972 h 64007"/>
              <a:gd name="connsiteX4" fmla="*/ 10921 w 53085"/>
              <a:gd name="connsiteY4" fmla="*/ 51942 h 64007"/>
              <a:gd name="connsiteX5" fmla="*/ 22225 w 53085"/>
              <a:gd name="connsiteY5" fmla="*/ 57657 h 64007"/>
              <a:gd name="connsiteX6" fmla="*/ 45719 w 53085"/>
              <a:gd name="connsiteY6" fmla="*/ 46735 h 64007"/>
              <a:gd name="connsiteX7" fmla="*/ 46735 w 53085"/>
              <a:gd name="connsiteY7" fmla="*/ 6350 h 6400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53085" h="64007">
                <a:moveTo>
                  <a:pt x="46735" y="6350"/>
                </a:moveTo>
                <a:cubicBezTo>
                  <a:pt x="34925" y="10667"/>
                  <a:pt x="27304" y="13842"/>
                  <a:pt x="23875" y="15620"/>
                </a:cubicBezTo>
                <a:cubicBezTo>
                  <a:pt x="17779" y="18922"/>
                  <a:pt x="13207" y="22351"/>
                  <a:pt x="10540" y="25907"/>
                </a:cubicBezTo>
                <a:cubicBezTo>
                  <a:pt x="7873" y="29590"/>
                  <a:pt x="6476" y="33527"/>
                  <a:pt x="6350" y="37972"/>
                </a:cubicBezTo>
                <a:cubicBezTo>
                  <a:pt x="6095" y="43560"/>
                  <a:pt x="7746" y="48132"/>
                  <a:pt x="10921" y="51942"/>
                </a:cubicBezTo>
                <a:cubicBezTo>
                  <a:pt x="14096" y="55625"/>
                  <a:pt x="17906" y="57657"/>
                  <a:pt x="22225" y="57657"/>
                </a:cubicBezTo>
                <a:cubicBezTo>
                  <a:pt x="28066" y="57911"/>
                  <a:pt x="35940" y="54228"/>
                  <a:pt x="45719" y="46735"/>
                </a:cubicBezTo>
                <a:lnTo>
                  <a:pt x="46735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34" name="Freeform 3"/>
          <p:cNvSpPr/>
          <p:nvPr/>
        </p:nvSpPr>
        <p:spPr>
          <a:xfrm>
            <a:off x="4809430" y="1719825"/>
            <a:ext cx="106666" cy="122231"/>
          </a:xfrm>
          <a:custGeom>
            <a:avLst/>
            <a:gdLst>
              <a:gd name="connsiteX0" fmla="*/ 51308 w 108839"/>
              <a:gd name="connsiteY0" fmla="*/ 6350 h 124714"/>
              <a:gd name="connsiteX1" fmla="*/ 74295 w 108839"/>
              <a:gd name="connsiteY1" fmla="*/ 11683 h 124714"/>
              <a:gd name="connsiteX2" fmla="*/ 84073 w 108839"/>
              <a:gd name="connsiteY2" fmla="*/ 23241 h 124714"/>
              <a:gd name="connsiteX3" fmla="*/ 85597 w 108839"/>
              <a:gd name="connsiteY3" fmla="*/ 43688 h 124714"/>
              <a:gd name="connsiteX4" fmla="*/ 84708 w 108839"/>
              <a:gd name="connsiteY4" fmla="*/ 79629 h 124714"/>
              <a:gd name="connsiteX5" fmla="*/ 84708 w 108839"/>
              <a:gd name="connsiteY5" fmla="*/ 98170 h 124714"/>
              <a:gd name="connsiteX6" fmla="*/ 86614 w 108839"/>
              <a:gd name="connsiteY6" fmla="*/ 102870 h 124714"/>
              <a:gd name="connsiteX7" fmla="*/ 89534 w 108839"/>
              <a:gd name="connsiteY7" fmla="*/ 104013 h 124714"/>
              <a:gd name="connsiteX8" fmla="*/ 92836 w 108839"/>
              <a:gd name="connsiteY8" fmla="*/ 103377 h 124714"/>
              <a:gd name="connsiteX9" fmla="*/ 102489 w 108839"/>
              <a:gd name="connsiteY9" fmla="*/ 95123 h 124714"/>
              <a:gd name="connsiteX10" fmla="*/ 102234 w 108839"/>
              <a:gd name="connsiteY10" fmla="*/ 101600 h 124714"/>
              <a:gd name="connsiteX11" fmla="*/ 77089 w 108839"/>
              <a:gd name="connsiteY11" fmla="*/ 118364 h 124714"/>
              <a:gd name="connsiteX12" fmla="*/ 68198 w 108839"/>
              <a:gd name="connsiteY12" fmla="*/ 114173 h 124714"/>
              <a:gd name="connsiteX13" fmla="*/ 65023 w 108839"/>
              <a:gd name="connsiteY13" fmla="*/ 100583 h 124714"/>
              <a:gd name="connsiteX14" fmla="*/ 44196 w 108839"/>
              <a:gd name="connsiteY14" fmla="*/ 114680 h 124714"/>
              <a:gd name="connsiteX15" fmla="*/ 30733 w 108839"/>
              <a:gd name="connsiteY15" fmla="*/ 117220 h 124714"/>
              <a:gd name="connsiteX16" fmla="*/ 12827 w 108839"/>
              <a:gd name="connsiteY16" fmla="*/ 109220 h 124714"/>
              <a:gd name="connsiteX17" fmla="*/ 6350 w 108839"/>
              <a:gd name="connsiteY17" fmla="*/ 89280 h 124714"/>
              <a:gd name="connsiteX18" fmla="*/ 10159 w 108839"/>
              <a:gd name="connsiteY18" fmla="*/ 75945 h 124714"/>
              <a:gd name="connsiteX19" fmla="*/ 26923 w 108839"/>
              <a:gd name="connsiteY19" fmla="*/ 61595 h 124714"/>
              <a:gd name="connsiteX20" fmla="*/ 66421 w 108839"/>
              <a:gd name="connsiteY20" fmla="*/ 45720 h 124714"/>
              <a:gd name="connsiteX21" fmla="*/ 66547 w 108839"/>
              <a:gd name="connsiteY21" fmla="*/ 41529 h 124714"/>
              <a:gd name="connsiteX22" fmla="*/ 62102 w 108839"/>
              <a:gd name="connsiteY22" fmla="*/ 19685 h 124714"/>
              <a:gd name="connsiteX23" fmla="*/ 47625 w 108839"/>
              <a:gd name="connsiteY23" fmla="*/ 13335 h 124714"/>
              <a:gd name="connsiteX24" fmla="*/ 35940 w 108839"/>
              <a:gd name="connsiteY24" fmla="*/ 17017 h 124714"/>
              <a:gd name="connsiteX25" fmla="*/ 31369 w 108839"/>
              <a:gd name="connsiteY25" fmla="*/ 25908 h 124714"/>
              <a:gd name="connsiteX26" fmla="*/ 31369 w 108839"/>
              <a:gd name="connsiteY26" fmla="*/ 32639 h 124714"/>
              <a:gd name="connsiteX27" fmla="*/ 28447 w 108839"/>
              <a:gd name="connsiteY27" fmla="*/ 40767 h 124714"/>
              <a:gd name="connsiteX28" fmla="*/ 21208 w 108839"/>
              <a:gd name="connsiteY28" fmla="*/ 43433 h 124714"/>
              <a:gd name="connsiteX29" fmla="*/ 14351 w 108839"/>
              <a:gd name="connsiteY29" fmla="*/ 40258 h 124714"/>
              <a:gd name="connsiteX30" fmla="*/ 11810 w 108839"/>
              <a:gd name="connsiteY30" fmla="*/ 32004 h 124714"/>
              <a:gd name="connsiteX31" fmla="*/ 22478 w 108839"/>
              <a:gd name="connsiteY31" fmla="*/ 13970 h 124714"/>
              <a:gd name="connsiteX32" fmla="*/ 51308 w 108839"/>
              <a:gd name="connsiteY32" fmla="*/ 6350 h 12471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</a:cxnLst>
            <a:rect l="l" t="t" r="r" b="b"/>
            <a:pathLst>
              <a:path w="108839" h="124714">
                <a:moveTo>
                  <a:pt x="51308" y="6350"/>
                </a:moveTo>
                <a:cubicBezTo>
                  <a:pt x="60705" y="6604"/>
                  <a:pt x="68326" y="8382"/>
                  <a:pt x="74295" y="11683"/>
                </a:cubicBezTo>
                <a:cubicBezTo>
                  <a:pt x="78739" y="14223"/>
                  <a:pt x="82041" y="18033"/>
                  <a:pt x="84073" y="23241"/>
                </a:cubicBezTo>
                <a:cubicBezTo>
                  <a:pt x="85344" y="26542"/>
                  <a:pt x="85852" y="33401"/>
                  <a:pt x="85597" y="43688"/>
                </a:cubicBezTo>
                <a:lnTo>
                  <a:pt x="84708" y="79629"/>
                </a:lnTo>
                <a:cubicBezTo>
                  <a:pt x="84454" y="89661"/>
                  <a:pt x="84454" y="95885"/>
                  <a:pt x="84708" y="98170"/>
                </a:cubicBezTo>
                <a:cubicBezTo>
                  <a:pt x="85089" y="100457"/>
                  <a:pt x="85725" y="101980"/>
                  <a:pt x="86614" y="102870"/>
                </a:cubicBezTo>
                <a:cubicBezTo>
                  <a:pt x="87376" y="103632"/>
                  <a:pt x="88391" y="104013"/>
                  <a:pt x="89534" y="104013"/>
                </a:cubicBezTo>
                <a:cubicBezTo>
                  <a:pt x="90804" y="104139"/>
                  <a:pt x="91947" y="103886"/>
                  <a:pt x="92836" y="103377"/>
                </a:cubicBezTo>
                <a:cubicBezTo>
                  <a:pt x="94488" y="102361"/>
                  <a:pt x="97663" y="99567"/>
                  <a:pt x="102489" y="95123"/>
                </a:cubicBezTo>
                <a:lnTo>
                  <a:pt x="102234" y="101600"/>
                </a:lnTo>
                <a:cubicBezTo>
                  <a:pt x="93345" y="112902"/>
                  <a:pt x="84963" y="118491"/>
                  <a:pt x="77089" y="118364"/>
                </a:cubicBezTo>
                <a:cubicBezTo>
                  <a:pt x="73278" y="118236"/>
                  <a:pt x="70358" y="116839"/>
                  <a:pt x="68198" y="114173"/>
                </a:cubicBezTo>
                <a:cubicBezTo>
                  <a:pt x="65913" y="111505"/>
                  <a:pt x="64896" y="106933"/>
                  <a:pt x="65023" y="100583"/>
                </a:cubicBezTo>
                <a:cubicBezTo>
                  <a:pt x="53975" y="108711"/>
                  <a:pt x="46989" y="113411"/>
                  <a:pt x="44196" y="114680"/>
                </a:cubicBezTo>
                <a:cubicBezTo>
                  <a:pt x="40004" y="116458"/>
                  <a:pt x="35433" y="117348"/>
                  <a:pt x="30733" y="117220"/>
                </a:cubicBezTo>
                <a:cubicBezTo>
                  <a:pt x="23495" y="116967"/>
                  <a:pt x="17526" y="114300"/>
                  <a:pt x="12827" y="109220"/>
                </a:cubicBezTo>
                <a:cubicBezTo>
                  <a:pt x="8254" y="104139"/>
                  <a:pt x="6096" y="97408"/>
                  <a:pt x="6350" y="89280"/>
                </a:cubicBezTo>
                <a:cubicBezTo>
                  <a:pt x="6477" y="84073"/>
                  <a:pt x="7746" y="79629"/>
                  <a:pt x="10159" y="75945"/>
                </a:cubicBezTo>
                <a:cubicBezTo>
                  <a:pt x="13461" y="70739"/>
                  <a:pt x="19050" y="66039"/>
                  <a:pt x="26923" y="61595"/>
                </a:cubicBezTo>
                <a:cubicBezTo>
                  <a:pt x="34925" y="57150"/>
                  <a:pt x="48133" y="51816"/>
                  <a:pt x="66421" y="45720"/>
                </a:cubicBezTo>
                <a:lnTo>
                  <a:pt x="66547" y="41529"/>
                </a:lnTo>
                <a:cubicBezTo>
                  <a:pt x="66802" y="30988"/>
                  <a:pt x="65404" y="23622"/>
                  <a:pt x="62102" y="19685"/>
                </a:cubicBezTo>
                <a:cubicBezTo>
                  <a:pt x="58801" y="15620"/>
                  <a:pt x="53975" y="13589"/>
                  <a:pt x="47625" y="13335"/>
                </a:cubicBezTo>
                <a:cubicBezTo>
                  <a:pt x="42798" y="13208"/>
                  <a:pt x="38861" y="14477"/>
                  <a:pt x="35940" y="17017"/>
                </a:cubicBezTo>
                <a:cubicBezTo>
                  <a:pt x="32892" y="19558"/>
                  <a:pt x="31369" y="22479"/>
                  <a:pt x="31369" y="25908"/>
                </a:cubicBezTo>
                <a:lnTo>
                  <a:pt x="31369" y="32639"/>
                </a:lnTo>
                <a:cubicBezTo>
                  <a:pt x="31241" y="36195"/>
                  <a:pt x="30352" y="38861"/>
                  <a:pt x="28447" y="40767"/>
                </a:cubicBezTo>
                <a:cubicBezTo>
                  <a:pt x="26542" y="42672"/>
                  <a:pt x="24129" y="43561"/>
                  <a:pt x="21208" y="43433"/>
                </a:cubicBezTo>
                <a:cubicBezTo>
                  <a:pt x="18414" y="43433"/>
                  <a:pt x="16128" y="42291"/>
                  <a:pt x="14351" y="40258"/>
                </a:cubicBezTo>
                <a:cubicBezTo>
                  <a:pt x="12572" y="38226"/>
                  <a:pt x="11683" y="35433"/>
                  <a:pt x="11810" y="32004"/>
                </a:cubicBezTo>
                <a:cubicBezTo>
                  <a:pt x="11938" y="25400"/>
                  <a:pt x="15494" y="19304"/>
                  <a:pt x="22478" y="13970"/>
                </a:cubicBezTo>
                <a:cubicBezTo>
                  <a:pt x="29464" y="8636"/>
                  <a:pt x="38989" y="6095"/>
                  <a:pt x="51308" y="6350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35" name="Freeform 3"/>
          <p:cNvSpPr/>
          <p:nvPr/>
        </p:nvSpPr>
        <p:spPr>
          <a:xfrm>
            <a:off x="4908503" y="1724431"/>
            <a:ext cx="130065" cy="120364"/>
          </a:xfrm>
          <a:custGeom>
            <a:avLst/>
            <a:gdLst>
              <a:gd name="connsiteX0" fmla="*/ 10160 w 132715"/>
              <a:gd name="connsiteY0" fmla="*/ 6350 h 122809"/>
              <a:gd name="connsiteX1" fmla="*/ 61467 w 132715"/>
              <a:gd name="connsiteY1" fmla="*/ 8255 h 122809"/>
              <a:gd name="connsiteX2" fmla="*/ 61341 w 132715"/>
              <a:gd name="connsiteY2" fmla="*/ 12573 h 122809"/>
              <a:gd name="connsiteX3" fmla="*/ 50800 w 132715"/>
              <a:gd name="connsiteY3" fmla="*/ 13843 h 122809"/>
              <a:gd name="connsiteX4" fmla="*/ 46101 w 132715"/>
              <a:gd name="connsiteY4" fmla="*/ 18415 h 122809"/>
              <a:gd name="connsiteX5" fmla="*/ 44450 w 132715"/>
              <a:gd name="connsiteY5" fmla="*/ 32512 h 122809"/>
              <a:gd name="connsiteX6" fmla="*/ 43688 w 132715"/>
              <a:gd name="connsiteY6" fmla="*/ 54991 h 122809"/>
              <a:gd name="connsiteX7" fmla="*/ 89408 w 132715"/>
              <a:gd name="connsiteY7" fmla="*/ 56642 h 122809"/>
              <a:gd name="connsiteX8" fmla="*/ 90297 w 132715"/>
              <a:gd name="connsiteY8" fmla="*/ 34163 h 122809"/>
              <a:gd name="connsiteX9" fmla="*/ 89916 w 132715"/>
              <a:gd name="connsiteY9" fmla="*/ 20955 h 122809"/>
              <a:gd name="connsiteX10" fmla="*/ 86105 w 132715"/>
              <a:gd name="connsiteY10" fmla="*/ 15621 h 122809"/>
              <a:gd name="connsiteX11" fmla="*/ 74929 w 132715"/>
              <a:gd name="connsiteY11" fmla="*/ 13081 h 122809"/>
              <a:gd name="connsiteX12" fmla="*/ 75057 w 132715"/>
              <a:gd name="connsiteY12" fmla="*/ 8763 h 122809"/>
              <a:gd name="connsiteX13" fmla="*/ 126365 w 132715"/>
              <a:gd name="connsiteY13" fmla="*/ 10541 h 122809"/>
              <a:gd name="connsiteX14" fmla="*/ 126110 w 132715"/>
              <a:gd name="connsiteY14" fmla="*/ 14986 h 122809"/>
              <a:gd name="connsiteX15" fmla="*/ 115570 w 132715"/>
              <a:gd name="connsiteY15" fmla="*/ 16256 h 122809"/>
              <a:gd name="connsiteX16" fmla="*/ 110997 w 132715"/>
              <a:gd name="connsiteY16" fmla="*/ 20701 h 122809"/>
              <a:gd name="connsiteX17" fmla="*/ 109347 w 132715"/>
              <a:gd name="connsiteY17" fmla="*/ 34798 h 122809"/>
              <a:gd name="connsiteX18" fmla="*/ 107315 w 132715"/>
              <a:gd name="connsiteY18" fmla="*/ 91059 h 122809"/>
              <a:gd name="connsiteX19" fmla="*/ 107696 w 132715"/>
              <a:gd name="connsiteY19" fmla="*/ 104394 h 122809"/>
              <a:gd name="connsiteX20" fmla="*/ 111760 w 132715"/>
              <a:gd name="connsiteY20" fmla="*/ 109855 h 122809"/>
              <a:gd name="connsiteX21" fmla="*/ 122682 w 132715"/>
              <a:gd name="connsiteY21" fmla="*/ 112268 h 122809"/>
              <a:gd name="connsiteX22" fmla="*/ 122428 w 132715"/>
              <a:gd name="connsiteY22" fmla="*/ 116459 h 122809"/>
              <a:gd name="connsiteX23" fmla="*/ 71247 w 132715"/>
              <a:gd name="connsiteY23" fmla="*/ 114681 h 122809"/>
              <a:gd name="connsiteX24" fmla="*/ 71373 w 132715"/>
              <a:gd name="connsiteY24" fmla="*/ 110363 h 122809"/>
              <a:gd name="connsiteX25" fmla="*/ 84328 w 132715"/>
              <a:gd name="connsiteY25" fmla="*/ 107315 h 122809"/>
              <a:gd name="connsiteX26" fmla="*/ 88265 w 132715"/>
              <a:gd name="connsiteY26" fmla="*/ 90424 h 122809"/>
              <a:gd name="connsiteX27" fmla="*/ 89154 w 132715"/>
              <a:gd name="connsiteY27" fmla="*/ 64135 h 122809"/>
              <a:gd name="connsiteX28" fmla="*/ 43434 w 132715"/>
              <a:gd name="connsiteY28" fmla="*/ 62484 h 122809"/>
              <a:gd name="connsiteX29" fmla="*/ 42417 w 132715"/>
              <a:gd name="connsiteY29" fmla="*/ 88646 h 122809"/>
              <a:gd name="connsiteX30" fmla="*/ 42798 w 132715"/>
              <a:gd name="connsiteY30" fmla="*/ 101981 h 122809"/>
              <a:gd name="connsiteX31" fmla="*/ 46863 w 132715"/>
              <a:gd name="connsiteY31" fmla="*/ 107442 h 122809"/>
              <a:gd name="connsiteX32" fmla="*/ 57785 w 132715"/>
              <a:gd name="connsiteY32" fmla="*/ 109855 h 122809"/>
              <a:gd name="connsiteX33" fmla="*/ 57658 w 132715"/>
              <a:gd name="connsiteY33" fmla="*/ 114173 h 122809"/>
              <a:gd name="connsiteX34" fmla="*/ 6350 w 132715"/>
              <a:gd name="connsiteY34" fmla="*/ 112268 h 122809"/>
              <a:gd name="connsiteX35" fmla="*/ 6604 w 132715"/>
              <a:gd name="connsiteY35" fmla="*/ 108077 h 122809"/>
              <a:gd name="connsiteX36" fmla="*/ 19811 w 132715"/>
              <a:gd name="connsiteY36" fmla="*/ 104775 h 122809"/>
              <a:gd name="connsiteX37" fmla="*/ 23367 w 132715"/>
              <a:gd name="connsiteY37" fmla="*/ 88011 h 122809"/>
              <a:gd name="connsiteX38" fmla="*/ 25400 w 132715"/>
              <a:gd name="connsiteY38" fmla="*/ 31877 h 122809"/>
              <a:gd name="connsiteX39" fmla="*/ 25019 w 132715"/>
              <a:gd name="connsiteY39" fmla="*/ 18542 h 122809"/>
              <a:gd name="connsiteX40" fmla="*/ 20954 w 132715"/>
              <a:gd name="connsiteY40" fmla="*/ 13081 h 122809"/>
              <a:gd name="connsiteX41" fmla="*/ 10033 w 132715"/>
              <a:gd name="connsiteY41" fmla="*/ 10795 h 122809"/>
              <a:gd name="connsiteX42" fmla="*/ 10160 w 132715"/>
              <a:gd name="connsiteY42" fmla="*/ 6350 h 12280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  <a:cxn ang="36">
                <a:pos x="connsiteX36" y="connsiteY36"/>
              </a:cxn>
              <a:cxn ang="37">
                <a:pos x="connsiteX37" y="connsiteY37"/>
              </a:cxn>
              <a:cxn ang="38">
                <a:pos x="connsiteX38" y="connsiteY38"/>
              </a:cxn>
              <a:cxn ang="39">
                <a:pos x="connsiteX39" y="connsiteY39"/>
              </a:cxn>
              <a:cxn ang="40">
                <a:pos x="connsiteX40" y="connsiteY40"/>
              </a:cxn>
              <a:cxn ang="41">
                <a:pos x="connsiteX41" y="connsiteY41"/>
              </a:cxn>
              <a:cxn ang="42">
                <a:pos x="connsiteX42" y="connsiteY42"/>
              </a:cxn>
            </a:cxnLst>
            <a:rect l="l" t="t" r="r" b="b"/>
            <a:pathLst>
              <a:path w="132715" h="122809">
                <a:moveTo>
                  <a:pt x="10160" y="6350"/>
                </a:moveTo>
                <a:lnTo>
                  <a:pt x="61467" y="8255"/>
                </a:lnTo>
                <a:lnTo>
                  <a:pt x="61341" y="12573"/>
                </a:lnTo>
                <a:cubicBezTo>
                  <a:pt x="56515" y="12446"/>
                  <a:pt x="52959" y="12827"/>
                  <a:pt x="50800" y="13843"/>
                </a:cubicBezTo>
                <a:cubicBezTo>
                  <a:pt x="48514" y="14859"/>
                  <a:pt x="46990" y="16383"/>
                  <a:pt x="46101" y="18415"/>
                </a:cubicBezTo>
                <a:cubicBezTo>
                  <a:pt x="45339" y="20447"/>
                  <a:pt x="44704" y="25146"/>
                  <a:pt x="44450" y="32512"/>
                </a:cubicBezTo>
                <a:lnTo>
                  <a:pt x="43688" y="54991"/>
                </a:lnTo>
                <a:lnTo>
                  <a:pt x="89408" y="56642"/>
                </a:lnTo>
                <a:lnTo>
                  <a:pt x="90297" y="34163"/>
                </a:lnTo>
                <a:cubicBezTo>
                  <a:pt x="90551" y="27432"/>
                  <a:pt x="90423" y="23114"/>
                  <a:pt x="89916" y="20955"/>
                </a:cubicBezTo>
                <a:cubicBezTo>
                  <a:pt x="89408" y="18923"/>
                  <a:pt x="88138" y="17145"/>
                  <a:pt x="86105" y="15621"/>
                </a:cubicBezTo>
                <a:cubicBezTo>
                  <a:pt x="84073" y="14224"/>
                  <a:pt x="80264" y="13335"/>
                  <a:pt x="74929" y="13081"/>
                </a:cubicBezTo>
                <a:lnTo>
                  <a:pt x="75057" y="8763"/>
                </a:lnTo>
                <a:lnTo>
                  <a:pt x="126365" y="10541"/>
                </a:lnTo>
                <a:lnTo>
                  <a:pt x="126110" y="14986"/>
                </a:lnTo>
                <a:cubicBezTo>
                  <a:pt x="121411" y="14859"/>
                  <a:pt x="117855" y="15240"/>
                  <a:pt x="115570" y="16256"/>
                </a:cubicBezTo>
                <a:cubicBezTo>
                  <a:pt x="113410" y="17272"/>
                  <a:pt x="111886" y="18669"/>
                  <a:pt x="110997" y="20701"/>
                </a:cubicBezTo>
                <a:cubicBezTo>
                  <a:pt x="110109" y="22733"/>
                  <a:pt x="109601" y="27432"/>
                  <a:pt x="109347" y="34798"/>
                </a:cubicBezTo>
                <a:lnTo>
                  <a:pt x="107315" y="91059"/>
                </a:lnTo>
                <a:cubicBezTo>
                  <a:pt x="107060" y="97790"/>
                  <a:pt x="107188" y="102235"/>
                  <a:pt x="107696" y="104394"/>
                </a:cubicBezTo>
                <a:cubicBezTo>
                  <a:pt x="108204" y="106552"/>
                  <a:pt x="109601" y="108331"/>
                  <a:pt x="111760" y="109855"/>
                </a:cubicBezTo>
                <a:cubicBezTo>
                  <a:pt x="113919" y="111252"/>
                  <a:pt x="117602" y="112014"/>
                  <a:pt x="122682" y="112268"/>
                </a:cubicBezTo>
                <a:lnTo>
                  <a:pt x="122428" y="116459"/>
                </a:lnTo>
                <a:lnTo>
                  <a:pt x="71247" y="114681"/>
                </a:lnTo>
                <a:lnTo>
                  <a:pt x="71373" y="110363"/>
                </a:lnTo>
                <a:cubicBezTo>
                  <a:pt x="77851" y="110617"/>
                  <a:pt x="82169" y="109601"/>
                  <a:pt x="84328" y="107315"/>
                </a:cubicBezTo>
                <a:cubicBezTo>
                  <a:pt x="86614" y="105029"/>
                  <a:pt x="87884" y="99441"/>
                  <a:pt x="88265" y="90424"/>
                </a:cubicBezTo>
                <a:lnTo>
                  <a:pt x="89154" y="64135"/>
                </a:lnTo>
                <a:lnTo>
                  <a:pt x="43434" y="62484"/>
                </a:lnTo>
                <a:lnTo>
                  <a:pt x="42417" y="88646"/>
                </a:lnTo>
                <a:cubicBezTo>
                  <a:pt x="42164" y="95377"/>
                  <a:pt x="42291" y="99822"/>
                  <a:pt x="42798" y="101981"/>
                </a:cubicBezTo>
                <a:cubicBezTo>
                  <a:pt x="43307" y="104267"/>
                  <a:pt x="44704" y="106045"/>
                  <a:pt x="46863" y="107442"/>
                </a:cubicBezTo>
                <a:cubicBezTo>
                  <a:pt x="49022" y="108839"/>
                  <a:pt x="52704" y="109727"/>
                  <a:pt x="57785" y="109855"/>
                </a:cubicBezTo>
                <a:lnTo>
                  <a:pt x="57658" y="114173"/>
                </a:lnTo>
                <a:lnTo>
                  <a:pt x="6350" y="112268"/>
                </a:lnTo>
                <a:lnTo>
                  <a:pt x="6604" y="108077"/>
                </a:lnTo>
                <a:cubicBezTo>
                  <a:pt x="13461" y="108204"/>
                  <a:pt x="17779" y="107188"/>
                  <a:pt x="19811" y="104775"/>
                </a:cubicBezTo>
                <a:cubicBezTo>
                  <a:pt x="21844" y="102362"/>
                  <a:pt x="22986" y="96774"/>
                  <a:pt x="23367" y="88011"/>
                </a:cubicBezTo>
                <a:lnTo>
                  <a:pt x="25400" y="31877"/>
                </a:lnTo>
                <a:cubicBezTo>
                  <a:pt x="25654" y="25146"/>
                  <a:pt x="25527" y="20701"/>
                  <a:pt x="25019" y="18542"/>
                </a:cubicBezTo>
                <a:cubicBezTo>
                  <a:pt x="24510" y="16256"/>
                  <a:pt x="23114" y="14477"/>
                  <a:pt x="20954" y="13081"/>
                </a:cubicBezTo>
                <a:cubicBezTo>
                  <a:pt x="18796" y="11684"/>
                  <a:pt x="15113" y="10922"/>
                  <a:pt x="10033" y="10795"/>
                </a:cubicBezTo>
                <a:lnTo>
                  <a:pt x="10160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36" name="Freeform 3"/>
          <p:cNvSpPr/>
          <p:nvPr/>
        </p:nvSpPr>
        <p:spPr>
          <a:xfrm>
            <a:off x="5032220" y="1729038"/>
            <a:ext cx="131185" cy="121609"/>
          </a:xfrm>
          <a:custGeom>
            <a:avLst/>
            <a:gdLst>
              <a:gd name="connsiteX0" fmla="*/ 11429 w 133858"/>
              <a:gd name="connsiteY0" fmla="*/ 6350 h 124079"/>
              <a:gd name="connsiteX1" fmla="*/ 62610 w 133858"/>
              <a:gd name="connsiteY1" fmla="*/ 8763 h 124079"/>
              <a:gd name="connsiteX2" fmla="*/ 62357 w 133858"/>
              <a:gd name="connsiteY2" fmla="*/ 13207 h 124079"/>
              <a:gd name="connsiteX3" fmla="*/ 51942 w 133858"/>
              <a:gd name="connsiteY3" fmla="*/ 14223 h 124079"/>
              <a:gd name="connsiteX4" fmla="*/ 47625 w 133858"/>
              <a:gd name="connsiteY4" fmla="*/ 17907 h 124079"/>
              <a:gd name="connsiteX5" fmla="*/ 45339 w 133858"/>
              <a:gd name="connsiteY5" fmla="*/ 32892 h 124079"/>
              <a:gd name="connsiteX6" fmla="*/ 43053 w 133858"/>
              <a:gd name="connsiteY6" fmla="*/ 81279 h 124079"/>
              <a:gd name="connsiteX7" fmla="*/ 91313 w 133858"/>
              <a:gd name="connsiteY7" fmla="*/ 30607 h 124079"/>
              <a:gd name="connsiteX8" fmla="*/ 88519 w 133858"/>
              <a:gd name="connsiteY8" fmla="*/ 18033 h 124079"/>
              <a:gd name="connsiteX9" fmla="*/ 77978 w 133858"/>
              <a:gd name="connsiteY9" fmla="*/ 13969 h 124079"/>
              <a:gd name="connsiteX10" fmla="*/ 78232 w 133858"/>
              <a:gd name="connsiteY10" fmla="*/ 9525 h 124079"/>
              <a:gd name="connsiteX11" fmla="*/ 127508 w 133858"/>
              <a:gd name="connsiteY11" fmla="*/ 11938 h 124079"/>
              <a:gd name="connsiteX12" fmla="*/ 127253 w 133858"/>
              <a:gd name="connsiteY12" fmla="*/ 16255 h 124079"/>
              <a:gd name="connsiteX13" fmla="*/ 116713 w 133858"/>
              <a:gd name="connsiteY13" fmla="*/ 17398 h 124079"/>
              <a:gd name="connsiteX14" fmla="*/ 112395 w 133858"/>
              <a:gd name="connsiteY14" fmla="*/ 21082 h 124079"/>
              <a:gd name="connsiteX15" fmla="*/ 110235 w 133858"/>
              <a:gd name="connsiteY15" fmla="*/ 35941 h 124079"/>
              <a:gd name="connsiteX16" fmla="*/ 107441 w 133858"/>
              <a:gd name="connsiteY16" fmla="*/ 92201 h 124079"/>
              <a:gd name="connsiteX17" fmla="*/ 108077 w 133858"/>
              <a:gd name="connsiteY17" fmla="*/ 106807 h 124079"/>
              <a:gd name="connsiteX18" fmla="*/ 111886 w 133858"/>
              <a:gd name="connsiteY18" fmla="*/ 111125 h 124079"/>
              <a:gd name="connsiteX19" fmla="*/ 122554 w 133858"/>
              <a:gd name="connsiteY19" fmla="*/ 113538 h 124079"/>
              <a:gd name="connsiteX20" fmla="*/ 122428 w 133858"/>
              <a:gd name="connsiteY20" fmla="*/ 117728 h 124079"/>
              <a:gd name="connsiteX21" fmla="*/ 71120 w 133858"/>
              <a:gd name="connsiteY21" fmla="*/ 115316 h 124079"/>
              <a:gd name="connsiteX22" fmla="*/ 71373 w 133858"/>
              <a:gd name="connsiteY22" fmla="*/ 110997 h 124079"/>
              <a:gd name="connsiteX23" fmla="*/ 84328 w 133858"/>
              <a:gd name="connsiteY23" fmla="*/ 108076 h 124079"/>
              <a:gd name="connsiteX24" fmla="*/ 88391 w 133858"/>
              <a:gd name="connsiteY24" fmla="*/ 91185 h 124079"/>
              <a:gd name="connsiteX25" fmla="*/ 90804 w 133858"/>
              <a:gd name="connsiteY25" fmla="*/ 41401 h 124079"/>
              <a:gd name="connsiteX26" fmla="*/ 42545 w 133858"/>
              <a:gd name="connsiteY26" fmla="*/ 92328 h 124079"/>
              <a:gd name="connsiteX27" fmla="*/ 44577 w 133858"/>
              <a:gd name="connsiteY27" fmla="*/ 105917 h 124079"/>
              <a:gd name="connsiteX28" fmla="*/ 55372 w 133858"/>
              <a:gd name="connsiteY28" fmla="*/ 110235 h 124079"/>
              <a:gd name="connsiteX29" fmla="*/ 55245 w 133858"/>
              <a:gd name="connsiteY29" fmla="*/ 114553 h 124079"/>
              <a:gd name="connsiteX30" fmla="*/ 6350 w 133858"/>
              <a:gd name="connsiteY30" fmla="*/ 112141 h 124079"/>
              <a:gd name="connsiteX31" fmla="*/ 6603 w 133858"/>
              <a:gd name="connsiteY31" fmla="*/ 107950 h 124079"/>
              <a:gd name="connsiteX32" fmla="*/ 19939 w 133858"/>
              <a:gd name="connsiteY32" fmla="*/ 104775 h 124079"/>
              <a:gd name="connsiteX33" fmla="*/ 23622 w 133858"/>
              <a:gd name="connsiteY33" fmla="*/ 88138 h 124079"/>
              <a:gd name="connsiteX34" fmla="*/ 26289 w 133858"/>
              <a:gd name="connsiteY34" fmla="*/ 32003 h 124079"/>
              <a:gd name="connsiteX35" fmla="*/ 25653 w 133858"/>
              <a:gd name="connsiteY35" fmla="*/ 17272 h 124079"/>
              <a:gd name="connsiteX36" fmla="*/ 21971 w 133858"/>
              <a:gd name="connsiteY36" fmla="*/ 13080 h 124079"/>
              <a:gd name="connsiteX37" fmla="*/ 11176 w 133858"/>
              <a:gd name="connsiteY37" fmla="*/ 10667 h 124079"/>
              <a:gd name="connsiteX38" fmla="*/ 11429 w 133858"/>
              <a:gd name="connsiteY38" fmla="*/ 6350 h 12407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  <a:cxn ang="19">
                <a:pos x="connsiteX19" y="connsiteY19"/>
              </a:cxn>
              <a:cxn ang="20">
                <a:pos x="connsiteX20" y="connsiteY20"/>
              </a:cxn>
              <a:cxn ang="21">
                <a:pos x="connsiteX21" y="connsiteY21"/>
              </a:cxn>
              <a:cxn ang="22">
                <a:pos x="connsiteX22" y="connsiteY22"/>
              </a:cxn>
              <a:cxn ang="23">
                <a:pos x="connsiteX23" y="connsiteY23"/>
              </a:cxn>
              <a:cxn ang="24">
                <a:pos x="connsiteX24" y="connsiteY24"/>
              </a:cxn>
              <a:cxn ang="25">
                <a:pos x="connsiteX25" y="connsiteY25"/>
              </a:cxn>
              <a:cxn ang="26">
                <a:pos x="connsiteX26" y="connsiteY26"/>
              </a:cxn>
              <a:cxn ang="27">
                <a:pos x="connsiteX27" y="connsiteY27"/>
              </a:cxn>
              <a:cxn ang="28">
                <a:pos x="connsiteX28" y="connsiteY28"/>
              </a:cxn>
              <a:cxn ang="29">
                <a:pos x="connsiteX29" y="connsiteY29"/>
              </a:cxn>
              <a:cxn ang="30">
                <a:pos x="connsiteX30" y="connsiteY30"/>
              </a:cxn>
              <a:cxn ang="31">
                <a:pos x="connsiteX31" y="connsiteY31"/>
              </a:cxn>
              <a:cxn ang="32">
                <a:pos x="connsiteX32" y="connsiteY32"/>
              </a:cxn>
              <a:cxn ang="33">
                <a:pos x="connsiteX33" y="connsiteY33"/>
              </a:cxn>
              <a:cxn ang="34">
                <a:pos x="connsiteX34" y="connsiteY34"/>
              </a:cxn>
              <a:cxn ang="35">
                <a:pos x="connsiteX35" y="connsiteY35"/>
              </a:cxn>
              <a:cxn ang="36">
                <a:pos x="connsiteX36" y="connsiteY36"/>
              </a:cxn>
              <a:cxn ang="37">
                <a:pos x="connsiteX37" y="connsiteY37"/>
              </a:cxn>
              <a:cxn ang="38">
                <a:pos x="connsiteX38" y="connsiteY38"/>
              </a:cxn>
            </a:cxnLst>
            <a:rect l="l" t="t" r="r" b="b"/>
            <a:pathLst>
              <a:path w="133858" h="124079">
                <a:moveTo>
                  <a:pt x="11429" y="6350"/>
                </a:moveTo>
                <a:lnTo>
                  <a:pt x="62610" y="8763"/>
                </a:lnTo>
                <a:lnTo>
                  <a:pt x="62357" y="13207"/>
                </a:lnTo>
                <a:cubicBezTo>
                  <a:pt x="57277" y="12953"/>
                  <a:pt x="53721" y="13335"/>
                  <a:pt x="51942" y="14223"/>
                </a:cubicBezTo>
                <a:cubicBezTo>
                  <a:pt x="50165" y="15239"/>
                  <a:pt x="48641" y="16382"/>
                  <a:pt x="47625" y="17907"/>
                </a:cubicBezTo>
                <a:cubicBezTo>
                  <a:pt x="46482" y="19430"/>
                  <a:pt x="45720" y="24383"/>
                  <a:pt x="45339" y="32892"/>
                </a:cubicBezTo>
                <a:lnTo>
                  <a:pt x="43053" y="81279"/>
                </a:lnTo>
                <a:lnTo>
                  <a:pt x="91313" y="30607"/>
                </a:lnTo>
                <a:cubicBezTo>
                  <a:pt x="91440" y="24638"/>
                  <a:pt x="90551" y="20447"/>
                  <a:pt x="88519" y="18033"/>
                </a:cubicBezTo>
                <a:cubicBezTo>
                  <a:pt x="86614" y="15620"/>
                  <a:pt x="83058" y="14223"/>
                  <a:pt x="77978" y="13969"/>
                </a:cubicBezTo>
                <a:lnTo>
                  <a:pt x="78232" y="9525"/>
                </a:lnTo>
                <a:lnTo>
                  <a:pt x="127508" y="11938"/>
                </a:lnTo>
                <a:lnTo>
                  <a:pt x="127253" y="16255"/>
                </a:lnTo>
                <a:cubicBezTo>
                  <a:pt x="122047" y="16001"/>
                  <a:pt x="118617" y="16382"/>
                  <a:pt x="116713" y="17398"/>
                </a:cubicBezTo>
                <a:cubicBezTo>
                  <a:pt x="114934" y="18288"/>
                  <a:pt x="113538" y="19557"/>
                  <a:pt x="112395" y="21082"/>
                </a:cubicBezTo>
                <a:cubicBezTo>
                  <a:pt x="111378" y="22478"/>
                  <a:pt x="110616" y="27558"/>
                  <a:pt x="110235" y="35941"/>
                </a:cubicBezTo>
                <a:lnTo>
                  <a:pt x="107441" y="92201"/>
                </a:lnTo>
                <a:cubicBezTo>
                  <a:pt x="107060" y="100329"/>
                  <a:pt x="107315" y="105155"/>
                  <a:pt x="108077" y="106807"/>
                </a:cubicBezTo>
                <a:cubicBezTo>
                  <a:pt x="108839" y="108457"/>
                  <a:pt x="110109" y="109854"/>
                  <a:pt x="111886" y="111125"/>
                </a:cubicBezTo>
                <a:cubicBezTo>
                  <a:pt x="113665" y="112394"/>
                  <a:pt x="117221" y="113283"/>
                  <a:pt x="122554" y="113538"/>
                </a:cubicBezTo>
                <a:lnTo>
                  <a:pt x="122428" y="117728"/>
                </a:lnTo>
                <a:lnTo>
                  <a:pt x="71120" y="115316"/>
                </a:lnTo>
                <a:lnTo>
                  <a:pt x="71373" y="110997"/>
                </a:lnTo>
                <a:cubicBezTo>
                  <a:pt x="77723" y="111378"/>
                  <a:pt x="82169" y="110363"/>
                  <a:pt x="84328" y="108076"/>
                </a:cubicBezTo>
                <a:cubicBezTo>
                  <a:pt x="86614" y="105917"/>
                  <a:pt x="88010" y="100202"/>
                  <a:pt x="88391" y="91185"/>
                </a:cubicBezTo>
                <a:lnTo>
                  <a:pt x="90804" y="41401"/>
                </a:lnTo>
                <a:lnTo>
                  <a:pt x="42545" y="92328"/>
                </a:lnTo>
                <a:cubicBezTo>
                  <a:pt x="42291" y="98805"/>
                  <a:pt x="43053" y="103377"/>
                  <a:pt x="44577" y="105917"/>
                </a:cubicBezTo>
                <a:cubicBezTo>
                  <a:pt x="46228" y="108457"/>
                  <a:pt x="49784" y="109982"/>
                  <a:pt x="55372" y="110235"/>
                </a:cubicBezTo>
                <a:lnTo>
                  <a:pt x="55245" y="114553"/>
                </a:lnTo>
                <a:lnTo>
                  <a:pt x="6350" y="112141"/>
                </a:lnTo>
                <a:lnTo>
                  <a:pt x="6603" y="107950"/>
                </a:lnTo>
                <a:cubicBezTo>
                  <a:pt x="13461" y="108203"/>
                  <a:pt x="17907" y="107188"/>
                  <a:pt x="19939" y="104775"/>
                </a:cubicBezTo>
                <a:cubicBezTo>
                  <a:pt x="21971" y="102361"/>
                  <a:pt x="23241" y="96773"/>
                  <a:pt x="23622" y="88138"/>
                </a:cubicBezTo>
                <a:lnTo>
                  <a:pt x="26289" y="32003"/>
                </a:lnTo>
                <a:cubicBezTo>
                  <a:pt x="26670" y="23748"/>
                  <a:pt x="26542" y="18795"/>
                  <a:pt x="25653" y="17272"/>
                </a:cubicBezTo>
                <a:cubicBezTo>
                  <a:pt x="24891" y="15747"/>
                  <a:pt x="23748" y="14350"/>
                  <a:pt x="21971" y="13080"/>
                </a:cubicBezTo>
                <a:cubicBezTo>
                  <a:pt x="20320" y="11810"/>
                  <a:pt x="16636" y="11048"/>
                  <a:pt x="11176" y="10667"/>
                </a:cubicBezTo>
                <a:lnTo>
                  <a:pt x="11429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37" name="Freeform 3"/>
          <p:cNvSpPr/>
          <p:nvPr/>
        </p:nvSpPr>
        <p:spPr>
          <a:xfrm>
            <a:off x="5179463" y="1742605"/>
            <a:ext cx="60489" cy="41449"/>
          </a:xfrm>
          <a:custGeom>
            <a:avLst/>
            <a:gdLst>
              <a:gd name="connsiteX0" fmla="*/ 34035 w 61721"/>
              <a:gd name="connsiteY0" fmla="*/ 6350 h 42291"/>
              <a:gd name="connsiteX1" fmla="*/ 16509 w 61721"/>
              <a:gd name="connsiteY1" fmla="*/ 12826 h 42291"/>
              <a:gd name="connsiteX2" fmla="*/ 6350 w 61721"/>
              <a:gd name="connsiteY2" fmla="*/ 33020 h 42291"/>
              <a:gd name="connsiteX3" fmla="*/ 55371 w 61721"/>
              <a:gd name="connsiteY3" fmla="*/ 35941 h 42291"/>
              <a:gd name="connsiteX4" fmla="*/ 53847 w 61721"/>
              <a:gd name="connsiteY4" fmla="*/ 21463 h 42291"/>
              <a:gd name="connsiteX5" fmla="*/ 45846 w 61721"/>
              <a:gd name="connsiteY5" fmla="*/ 10795 h 42291"/>
              <a:gd name="connsiteX6" fmla="*/ 34035 w 61721"/>
              <a:gd name="connsiteY6" fmla="*/ 6350 h 4229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</a:cxnLst>
            <a:rect l="l" t="t" r="r" b="b"/>
            <a:pathLst>
              <a:path w="61721" h="42291">
                <a:moveTo>
                  <a:pt x="34035" y="6350"/>
                </a:moveTo>
                <a:cubicBezTo>
                  <a:pt x="27685" y="5969"/>
                  <a:pt x="21843" y="8127"/>
                  <a:pt x="16509" y="12826"/>
                </a:cubicBezTo>
                <a:cubicBezTo>
                  <a:pt x="11175" y="17526"/>
                  <a:pt x="7746" y="24257"/>
                  <a:pt x="6350" y="33020"/>
                </a:cubicBezTo>
                <a:lnTo>
                  <a:pt x="55371" y="35941"/>
                </a:lnTo>
                <a:cubicBezTo>
                  <a:pt x="55371" y="29082"/>
                  <a:pt x="54863" y="24257"/>
                  <a:pt x="53847" y="21463"/>
                </a:cubicBezTo>
                <a:cubicBezTo>
                  <a:pt x="52196" y="17017"/>
                  <a:pt x="49529" y="13461"/>
                  <a:pt x="45846" y="10795"/>
                </a:cubicBezTo>
                <a:cubicBezTo>
                  <a:pt x="42163" y="8127"/>
                  <a:pt x="38226" y="6604"/>
                  <a:pt x="34035" y="6350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38" name="Freeform 3"/>
          <p:cNvSpPr/>
          <p:nvPr/>
        </p:nvSpPr>
        <p:spPr>
          <a:xfrm>
            <a:off x="5162162" y="1735011"/>
            <a:ext cx="101064" cy="122356"/>
          </a:xfrm>
          <a:custGeom>
            <a:avLst/>
            <a:gdLst>
              <a:gd name="connsiteX0" fmla="*/ 58673 w 103123"/>
              <a:gd name="connsiteY0" fmla="*/ 6350 h 124841"/>
              <a:gd name="connsiteX1" fmla="*/ 87248 w 103123"/>
              <a:gd name="connsiteY1" fmla="*/ 19811 h 124841"/>
              <a:gd name="connsiteX2" fmla="*/ 96773 w 103123"/>
              <a:gd name="connsiteY2" fmla="*/ 51816 h 124841"/>
              <a:gd name="connsiteX3" fmla="*/ 23621 w 103123"/>
              <a:gd name="connsiteY3" fmla="*/ 47498 h 124841"/>
              <a:gd name="connsiteX4" fmla="*/ 32892 w 103123"/>
              <a:gd name="connsiteY4" fmla="*/ 85089 h 124841"/>
              <a:gd name="connsiteX5" fmla="*/ 59309 w 103123"/>
              <a:gd name="connsiteY5" fmla="*/ 100076 h 124841"/>
              <a:gd name="connsiteX6" fmla="*/ 77723 w 103123"/>
              <a:gd name="connsiteY6" fmla="*/ 95504 h 124841"/>
              <a:gd name="connsiteX7" fmla="*/ 91694 w 103123"/>
              <a:gd name="connsiteY7" fmla="*/ 76707 h 124841"/>
              <a:gd name="connsiteX8" fmla="*/ 95122 w 103123"/>
              <a:gd name="connsiteY8" fmla="*/ 79248 h 124841"/>
              <a:gd name="connsiteX9" fmla="*/ 79375 w 103123"/>
              <a:gd name="connsiteY9" fmla="*/ 107188 h 124841"/>
              <a:gd name="connsiteX10" fmla="*/ 49403 w 103123"/>
              <a:gd name="connsiteY10" fmla="*/ 118491 h 124841"/>
              <a:gd name="connsiteX11" fmla="*/ 17653 w 103123"/>
              <a:gd name="connsiteY11" fmla="*/ 101600 h 124841"/>
              <a:gd name="connsiteX12" fmla="*/ 6350 w 103123"/>
              <a:gd name="connsiteY12" fmla="*/ 60960 h 124841"/>
              <a:gd name="connsiteX13" fmla="*/ 22859 w 103123"/>
              <a:gd name="connsiteY13" fmla="*/ 19430 h 124841"/>
              <a:gd name="connsiteX14" fmla="*/ 58673 w 103123"/>
              <a:gd name="connsiteY14" fmla="*/ 6350 h 12484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</a:cxnLst>
            <a:rect l="l" t="t" r="r" b="b"/>
            <a:pathLst>
              <a:path w="103123" h="124841">
                <a:moveTo>
                  <a:pt x="58673" y="6350"/>
                </a:moveTo>
                <a:cubicBezTo>
                  <a:pt x="70484" y="6985"/>
                  <a:pt x="80009" y="11557"/>
                  <a:pt x="87248" y="19811"/>
                </a:cubicBezTo>
                <a:cubicBezTo>
                  <a:pt x="94360" y="28067"/>
                  <a:pt x="97535" y="38735"/>
                  <a:pt x="96773" y="51816"/>
                </a:cubicBezTo>
                <a:lnTo>
                  <a:pt x="23621" y="47498"/>
                </a:lnTo>
                <a:cubicBezTo>
                  <a:pt x="22605" y="63119"/>
                  <a:pt x="25780" y="75692"/>
                  <a:pt x="32892" y="85089"/>
                </a:cubicBezTo>
                <a:cubicBezTo>
                  <a:pt x="40132" y="94488"/>
                  <a:pt x="48895" y="99567"/>
                  <a:pt x="59309" y="100076"/>
                </a:cubicBezTo>
                <a:cubicBezTo>
                  <a:pt x="66166" y="100583"/>
                  <a:pt x="72263" y="98932"/>
                  <a:pt x="77723" y="95504"/>
                </a:cubicBezTo>
                <a:cubicBezTo>
                  <a:pt x="83058" y="91948"/>
                  <a:pt x="87757" y="85725"/>
                  <a:pt x="91694" y="76707"/>
                </a:cubicBezTo>
                <a:lnTo>
                  <a:pt x="95122" y="79248"/>
                </a:lnTo>
                <a:cubicBezTo>
                  <a:pt x="92964" y="89661"/>
                  <a:pt x="87629" y="98932"/>
                  <a:pt x="79375" y="107188"/>
                </a:cubicBezTo>
                <a:cubicBezTo>
                  <a:pt x="70992" y="115316"/>
                  <a:pt x="61086" y="119126"/>
                  <a:pt x="49403" y="118491"/>
                </a:cubicBezTo>
                <a:cubicBezTo>
                  <a:pt x="36703" y="117729"/>
                  <a:pt x="26034" y="112141"/>
                  <a:pt x="17653" y="101600"/>
                </a:cubicBezTo>
                <a:cubicBezTo>
                  <a:pt x="9144" y="91186"/>
                  <a:pt x="5460" y="77597"/>
                  <a:pt x="6350" y="60960"/>
                </a:cubicBezTo>
                <a:cubicBezTo>
                  <a:pt x="7492" y="42798"/>
                  <a:pt x="12953" y="28955"/>
                  <a:pt x="22859" y="19430"/>
                </a:cubicBezTo>
                <a:cubicBezTo>
                  <a:pt x="32765" y="9905"/>
                  <a:pt x="44703" y="5461"/>
                  <a:pt x="58673" y="6350"/>
                </a:cubicBez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39" name="Freeform 3"/>
          <p:cNvSpPr/>
          <p:nvPr/>
        </p:nvSpPr>
        <p:spPr>
          <a:xfrm>
            <a:off x="5255136" y="1684103"/>
            <a:ext cx="82147" cy="222929"/>
          </a:xfrm>
          <a:custGeom>
            <a:avLst/>
            <a:gdLst>
              <a:gd name="connsiteX0" fmla="*/ 21209 w 83820"/>
              <a:gd name="connsiteY0" fmla="*/ 6350 h 227457"/>
              <a:gd name="connsiteX1" fmla="*/ 49021 w 83820"/>
              <a:gd name="connsiteY1" fmla="*/ 28829 h 227457"/>
              <a:gd name="connsiteX2" fmla="*/ 71754 w 83820"/>
              <a:gd name="connsiteY2" fmla="*/ 70104 h 227457"/>
              <a:gd name="connsiteX3" fmla="*/ 77470 w 83820"/>
              <a:gd name="connsiteY3" fmla="*/ 117982 h 227457"/>
              <a:gd name="connsiteX4" fmla="*/ 55371 w 83820"/>
              <a:gd name="connsiteY4" fmla="*/ 182117 h 227457"/>
              <a:gd name="connsiteX5" fmla="*/ 6350 w 83820"/>
              <a:gd name="connsiteY5" fmla="*/ 221107 h 227457"/>
              <a:gd name="connsiteX6" fmla="*/ 6603 w 83820"/>
              <a:gd name="connsiteY6" fmla="*/ 216788 h 227457"/>
              <a:gd name="connsiteX7" fmla="*/ 31496 w 83820"/>
              <a:gd name="connsiteY7" fmla="*/ 196850 h 227457"/>
              <a:gd name="connsiteX8" fmla="*/ 47497 w 83820"/>
              <a:gd name="connsiteY8" fmla="*/ 163322 h 227457"/>
              <a:gd name="connsiteX9" fmla="*/ 54990 w 83820"/>
              <a:gd name="connsiteY9" fmla="*/ 119888 h 227457"/>
              <a:gd name="connsiteX10" fmla="*/ 54228 w 83820"/>
              <a:gd name="connsiteY10" fmla="*/ 74802 h 227457"/>
              <a:gd name="connsiteX11" fmla="*/ 48895 w 83820"/>
              <a:gd name="connsiteY11" fmla="*/ 48767 h 227457"/>
              <a:gd name="connsiteX12" fmla="*/ 38608 w 83820"/>
              <a:gd name="connsiteY12" fmla="*/ 29463 h 227457"/>
              <a:gd name="connsiteX13" fmla="*/ 20827 w 83820"/>
              <a:gd name="connsiteY13" fmla="*/ 11175 h 227457"/>
              <a:gd name="connsiteX14" fmla="*/ 21209 w 83820"/>
              <a:gd name="connsiteY14" fmla="*/ 6350 h 227457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</a:cxnLst>
            <a:rect l="l" t="t" r="r" b="b"/>
            <a:pathLst>
              <a:path w="83820" h="227457">
                <a:moveTo>
                  <a:pt x="21209" y="6350"/>
                </a:moveTo>
                <a:cubicBezTo>
                  <a:pt x="32511" y="12954"/>
                  <a:pt x="41783" y="20447"/>
                  <a:pt x="49021" y="28829"/>
                </a:cubicBezTo>
                <a:cubicBezTo>
                  <a:pt x="59182" y="40766"/>
                  <a:pt x="66802" y="54610"/>
                  <a:pt x="71754" y="70104"/>
                </a:cubicBezTo>
                <a:cubicBezTo>
                  <a:pt x="76708" y="85725"/>
                  <a:pt x="78613" y="101600"/>
                  <a:pt x="77470" y="117982"/>
                </a:cubicBezTo>
                <a:cubicBezTo>
                  <a:pt x="75819" y="141858"/>
                  <a:pt x="68452" y="163194"/>
                  <a:pt x="55371" y="182117"/>
                </a:cubicBezTo>
                <a:cubicBezTo>
                  <a:pt x="42290" y="200913"/>
                  <a:pt x="25908" y="213867"/>
                  <a:pt x="6350" y="221107"/>
                </a:cubicBezTo>
                <a:lnTo>
                  <a:pt x="6603" y="216788"/>
                </a:lnTo>
                <a:cubicBezTo>
                  <a:pt x="16509" y="212089"/>
                  <a:pt x="24765" y="205485"/>
                  <a:pt x="31496" y="196850"/>
                </a:cubicBezTo>
                <a:cubicBezTo>
                  <a:pt x="38227" y="188213"/>
                  <a:pt x="43560" y="177038"/>
                  <a:pt x="47497" y="163322"/>
                </a:cubicBezTo>
                <a:cubicBezTo>
                  <a:pt x="51434" y="149605"/>
                  <a:pt x="53975" y="135127"/>
                  <a:pt x="54990" y="119888"/>
                </a:cubicBezTo>
                <a:cubicBezTo>
                  <a:pt x="56134" y="103504"/>
                  <a:pt x="55879" y="88519"/>
                  <a:pt x="54228" y="74802"/>
                </a:cubicBezTo>
                <a:cubicBezTo>
                  <a:pt x="53085" y="64007"/>
                  <a:pt x="51308" y="55372"/>
                  <a:pt x="48895" y="48767"/>
                </a:cubicBezTo>
                <a:cubicBezTo>
                  <a:pt x="46354" y="42163"/>
                  <a:pt x="43052" y="35813"/>
                  <a:pt x="38608" y="29463"/>
                </a:cubicBezTo>
                <a:cubicBezTo>
                  <a:pt x="34290" y="23241"/>
                  <a:pt x="28321" y="17144"/>
                  <a:pt x="20827" y="11175"/>
                </a:cubicBezTo>
                <a:lnTo>
                  <a:pt x="21209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8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40" name="Freeform 3"/>
          <p:cNvSpPr/>
          <p:nvPr/>
        </p:nvSpPr>
        <p:spPr>
          <a:xfrm>
            <a:off x="5922577" y="1615955"/>
            <a:ext cx="993475" cy="906528"/>
          </a:xfrm>
          <a:custGeom>
            <a:avLst/>
            <a:gdLst>
              <a:gd name="connsiteX0" fmla="*/ 549973 w 1013714"/>
              <a:gd name="connsiteY0" fmla="*/ 669480 h 924941"/>
              <a:gd name="connsiteX1" fmla="*/ 130619 w 1013714"/>
              <a:gd name="connsiteY1" fmla="*/ 445452 h 924941"/>
              <a:gd name="connsiteX2" fmla="*/ 14287 w 1013714"/>
              <a:gd name="connsiteY2" fmla="*/ 14287 h 924941"/>
              <a:gd name="connsiteX3" fmla="*/ 754189 w 1013714"/>
              <a:gd name="connsiteY3" fmla="*/ 409384 h 924941"/>
              <a:gd name="connsiteX4" fmla="*/ 872045 w 1013714"/>
              <a:gd name="connsiteY4" fmla="*/ 259397 h 924941"/>
              <a:gd name="connsiteX5" fmla="*/ 999426 w 1013714"/>
              <a:gd name="connsiteY5" fmla="*/ 910653 h 924941"/>
              <a:gd name="connsiteX6" fmla="*/ 432117 w 1013714"/>
              <a:gd name="connsiteY6" fmla="*/ 819467 h 924941"/>
              <a:gd name="connsiteX7" fmla="*/ 549973 w 1013714"/>
              <a:gd name="connsiteY7" fmla="*/ 669480 h 92494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1013714" h="924941">
                <a:moveTo>
                  <a:pt x="549973" y="669480"/>
                </a:moveTo>
                <a:cubicBezTo>
                  <a:pt x="425005" y="535876"/>
                  <a:pt x="271462" y="453834"/>
                  <a:pt x="130619" y="445452"/>
                </a:cubicBezTo>
                <a:lnTo>
                  <a:pt x="14287" y="14287"/>
                </a:lnTo>
                <a:cubicBezTo>
                  <a:pt x="262699" y="29146"/>
                  <a:pt x="533717" y="173799"/>
                  <a:pt x="754189" y="409384"/>
                </a:cubicBezTo>
                <a:lnTo>
                  <a:pt x="872045" y="259397"/>
                </a:lnTo>
                <a:lnTo>
                  <a:pt x="999426" y="910653"/>
                </a:lnTo>
                <a:lnTo>
                  <a:pt x="432117" y="819467"/>
                </a:lnTo>
                <a:lnTo>
                  <a:pt x="549973" y="669480"/>
                </a:lnTo>
              </a:path>
            </a:pathLst>
          </a:custGeom>
          <a:solidFill>
            <a:srgbClr val="000000">
              <a:alpha val="0"/>
            </a:srgbClr>
          </a:solidFill>
          <a:ln w="25400">
            <a:solidFill>
              <a:srgbClr val="A50021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pic>
        <p:nvPicPr>
          <p:cNvPr id="114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294430" y="2551671"/>
            <a:ext cx="734340" cy="2066231"/>
          </a:xfrm>
          <a:prstGeom prst="rect">
            <a:avLst/>
          </a:prstGeom>
          <a:noFill/>
        </p:spPr>
      </p:pic>
      <p:pic>
        <p:nvPicPr>
          <p:cNvPr id="114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84575" y="1319401"/>
            <a:ext cx="1879413" cy="597464"/>
          </a:xfrm>
          <a:prstGeom prst="rect">
            <a:avLst/>
          </a:prstGeom>
          <a:noFill/>
        </p:spPr>
      </p:pic>
      <p:pic>
        <p:nvPicPr>
          <p:cNvPr id="1144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302592" y="2091125"/>
            <a:ext cx="4530505" cy="2041337"/>
          </a:xfrm>
          <a:prstGeom prst="rect">
            <a:avLst/>
          </a:prstGeom>
          <a:noFill/>
        </p:spPr>
      </p:pic>
      <p:pic>
        <p:nvPicPr>
          <p:cNvPr id="1145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957561" y="2638801"/>
            <a:ext cx="472965" cy="1269612"/>
          </a:xfrm>
          <a:prstGeom prst="rect">
            <a:avLst/>
          </a:prstGeom>
          <a:noFill/>
        </p:spPr>
      </p:pic>
      <p:pic>
        <p:nvPicPr>
          <p:cNvPr id="1146" name="Picture 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709040" y="4593008"/>
            <a:ext cx="1954091" cy="385862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26</a:t>
            </a:r>
          </a:p>
        </p:txBody>
      </p:sp>
      <p:sp>
        <p:nvSpPr>
          <p:cNvPr id="1148" name="TextBox 1"/>
          <p:cNvSpPr txBox="1"/>
          <p:nvPr/>
        </p:nvSpPr>
        <p:spPr>
          <a:xfrm>
            <a:off x="3211182" y="2837956"/>
            <a:ext cx="2782813" cy="63514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2156"/>
              </a:lnSpc>
              <a:tabLst>
                <a:tab pos="286258" algn="l"/>
              </a:tabLst>
            </a:pPr>
            <a:r>
              <a:rPr lang="en-US" altLang="zh-CN" dirty="0" smtClean="0"/>
              <a:t>	</a:t>
            </a:r>
            <a:r>
              <a:rPr lang="en-US" altLang="zh-CN" sz="20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истема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правления</a:t>
            </a:r>
          </a:p>
          <a:p>
            <a:pPr>
              <a:lnSpc>
                <a:spcPts val="2352"/>
              </a:lnSpc>
              <a:tabLst>
                <a:tab pos="286258" algn="l"/>
              </a:tabLst>
            </a:pPr>
            <a:r>
              <a:rPr lang="en-US" altLang="zh-CN" sz="20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овременных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чреждений</a:t>
            </a:r>
          </a:p>
        </p:txBody>
      </p:sp>
      <p:sp>
        <p:nvSpPr>
          <p:cNvPr id="1149" name="TextBox 1"/>
          <p:cNvSpPr txBox="1"/>
          <p:nvPr/>
        </p:nvSpPr>
        <p:spPr>
          <a:xfrm>
            <a:off x="547643" y="547676"/>
            <a:ext cx="5224251" cy="840333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4.Нормирова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плат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ЕТКС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рофессиональ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стандарт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едино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системе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правления</a:t>
            </a:r>
          </a:p>
        </p:txBody>
      </p:sp>
    </p:spTree>
    <p:extLst>
      <p:ext uri="{BB962C8B-B14F-4D97-AF65-F5344CB8AC3E}">
        <p14:creationId xmlns:p14="http://schemas.microsoft.com/office/powerpoint/2010/main" val="597973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11161" y="311179"/>
            <a:ext cx="8276884" cy="5812831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27</a:t>
            </a:r>
          </a:p>
        </p:txBody>
      </p:sp>
      <p:sp>
        <p:nvSpPr>
          <p:cNvPr id="5" name="TextBox 1"/>
          <p:cNvSpPr txBox="1"/>
          <p:nvPr/>
        </p:nvSpPr>
        <p:spPr>
          <a:xfrm>
            <a:off x="833912" y="2327622"/>
            <a:ext cx="238848" cy="2789585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2548"/>
              </a:lnSpc>
              <a:tabLst>
                <a:tab pos="37338" algn="l"/>
              </a:tabLst>
            </a:pP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</a:t>
            </a:r>
          </a:p>
          <a:p>
            <a:pPr>
              <a:lnSpc>
                <a:spcPts val="2744"/>
              </a:lnSpc>
              <a:tabLst>
                <a:tab pos="37338" algn="l"/>
              </a:tabLst>
            </a:pPr>
            <a:r>
              <a:rPr lang="en-US" altLang="zh-CN" dirty="0" smtClean="0"/>
              <a:t>	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</a:t>
            </a:r>
          </a:p>
          <a:p>
            <a:pPr>
              <a:lnSpc>
                <a:spcPts val="2744"/>
              </a:lnSpc>
              <a:tabLst>
                <a:tab pos="37338" algn="l"/>
              </a:tabLst>
            </a:pP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</a:t>
            </a:r>
          </a:p>
          <a:p>
            <a:pPr>
              <a:lnSpc>
                <a:spcPts val="2744"/>
              </a:lnSpc>
              <a:tabLst>
                <a:tab pos="37338" algn="l"/>
              </a:tabLst>
            </a:pP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</a:t>
            </a:r>
          </a:p>
          <a:p>
            <a:pPr>
              <a:lnSpc>
                <a:spcPts val="2744"/>
              </a:lnSpc>
              <a:tabLst>
                <a:tab pos="37338" algn="l"/>
              </a:tabLst>
            </a:pP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Е</a:t>
            </a:r>
          </a:p>
          <a:p>
            <a:pPr>
              <a:lnSpc>
                <a:spcPts val="2744"/>
              </a:lnSpc>
              <a:tabLst>
                <a:tab pos="37338" algn="l"/>
              </a:tabLst>
            </a:pP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</a:t>
            </a:r>
          </a:p>
          <a:p>
            <a:pPr>
              <a:lnSpc>
                <a:spcPts val="2744"/>
              </a:lnSpc>
              <a:tabLst>
                <a:tab pos="37338" algn="l"/>
              </a:tabLst>
            </a:pP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2744"/>
              </a:lnSpc>
              <a:tabLst>
                <a:tab pos="37338" algn="l"/>
              </a:tabLst>
            </a:pP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</p:txBody>
      </p:sp>
      <p:sp>
        <p:nvSpPr>
          <p:cNvPr id="6" name="TextBox 1"/>
          <p:cNvSpPr txBox="1"/>
          <p:nvPr/>
        </p:nvSpPr>
        <p:spPr>
          <a:xfrm>
            <a:off x="3148950" y="2551672"/>
            <a:ext cx="4478790" cy="2738288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99568" algn="l"/>
              </a:tabLst>
            </a:pPr>
            <a:r>
              <a:rPr lang="en-US" altLang="zh-CN" sz="1800" dirty="0">
                <a:solidFill>
                  <a:srgbClr val="E10060"/>
                </a:solidFill>
                <a:latin typeface="Times New Roman" pitchFamily="18" charset="0"/>
                <a:cs typeface="Times New Roman" pitchFamily="18" charset="0"/>
              </a:rPr>
              <a:t>Созда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E10060"/>
                </a:solidFill>
                <a:latin typeface="Times New Roman" pitchFamily="18" charset="0"/>
                <a:cs typeface="Times New Roman" pitchFamily="18" charset="0"/>
              </a:rPr>
              <a:t>устойчиво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E10060"/>
                </a:solidFill>
                <a:latin typeface="Times New Roman" pitchFamily="18" charset="0"/>
                <a:cs typeface="Times New Roman" pitchFamily="18" charset="0"/>
              </a:rPr>
              <a:t>системы</a:t>
            </a:r>
          </a:p>
          <a:p>
            <a:pPr>
              <a:lnSpc>
                <a:spcPts val="2058"/>
              </a:lnSpc>
              <a:tabLst>
                <a:tab pos="9956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E10060"/>
                </a:solidFill>
                <a:latin typeface="Times New Roman" pitchFamily="18" charset="0"/>
                <a:cs typeface="Times New Roman" pitchFamily="18" charset="0"/>
              </a:rPr>
              <a:t>регламентации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862"/>
              </a:lnSpc>
              <a:tabLst>
                <a:tab pos="99568" algn="l"/>
              </a:tabLst>
            </a:pPr>
            <a:r>
              <a:rPr lang="en-US" altLang="zh-CN" sz="1700" dirty="0">
                <a:solidFill>
                  <a:srgbClr val="E10060"/>
                </a:solidFill>
                <a:latin typeface="Times New Roman" pitchFamily="18" charset="0"/>
                <a:cs typeface="Times New Roman" pitchFamily="18" charset="0"/>
              </a:rPr>
              <a:t>Интеграция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E10060"/>
                </a:solidFill>
                <a:latin typeface="Times New Roman" pitchFamily="18" charset="0"/>
                <a:cs typeface="Times New Roman" pitchFamily="18" charset="0"/>
              </a:rPr>
              <a:t>систем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E10060"/>
                </a:solidFill>
                <a:latin typeface="Times New Roman" pitchFamily="18" charset="0"/>
                <a:cs typeface="Times New Roman" pitchFamily="18" charset="0"/>
              </a:rPr>
              <a:t>управления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960"/>
              </a:lnSpc>
              <a:tabLst>
                <a:tab pos="99568" algn="l"/>
              </a:tabLst>
            </a:pPr>
            <a:r>
              <a:rPr lang="en-US" altLang="zh-CN" sz="1700" dirty="0" err="1">
                <a:solidFill>
                  <a:srgbClr val="E10060"/>
                </a:solidFill>
                <a:latin typeface="Arial Narrow" pitchFamily="18" charset="0"/>
                <a:cs typeface="Arial Narrow" pitchFamily="18" charset="0"/>
              </a:rPr>
              <a:t>Систематизация</a:t>
            </a:r>
            <a:r>
              <a:rPr lang="ru-RU" altLang="zh-CN" sz="1700" dirty="0">
                <a:solidFill>
                  <a:srgbClr val="E10060"/>
                </a:solidFill>
                <a:latin typeface="Arial Narrow" pitchFamily="18" charset="0"/>
                <a:cs typeface="Arial Narrow" pitchFamily="18" charset="0"/>
              </a:rPr>
              <a:t> </a:t>
            </a:r>
            <a:r>
              <a:rPr lang="en-US" altLang="zh-CN" sz="1700" dirty="0" err="1">
                <a:solidFill>
                  <a:srgbClr val="E10060"/>
                </a:solidFill>
                <a:latin typeface="Arial Narrow" pitchFamily="18" charset="0"/>
                <a:cs typeface="Arial Narrow" pitchFamily="18" charset="0"/>
              </a:rPr>
              <a:t>мониторинга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E10060"/>
                </a:solidFill>
                <a:latin typeface="Arial Narrow" pitchFamily="18" charset="0"/>
                <a:cs typeface="Arial Narrow" pitchFamily="18" charset="0"/>
              </a:rPr>
              <a:t>систем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E10060"/>
                </a:solidFill>
                <a:latin typeface="Arial Narrow" pitchFamily="18" charset="0"/>
                <a:cs typeface="Arial Narrow" pitchFamily="18" charset="0"/>
              </a:rPr>
              <a:t>управления</a:t>
            </a:r>
          </a:p>
        </p:txBody>
      </p:sp>
      <p:sp>
        <p:nvSpPr>
          <p:cNvPr id="7" name="TextBox 1"/>
          <p:cNvSpPr txBox="1"/>
          <p:nvPr/>
        </p:nvSpPr>
        <p:spPr>
          <a:xfrm>
            <a:off x="547644" y="585017"/>
            <a:ext cx="6794809" cy="1738015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286258" algn="l"/>
                <a:tab pos="260121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4.Производственна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стратегия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рганизац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2058"/>
              </a:lnSpc>
              <a:tabLst>
                <a:tab pos="286258" algn="l"/>
                <a:tab pos="260121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ирова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современн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словия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вития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450"/>
              </a:lnSpc>
              <a:tabLst>
                <a:tab pos="286258" algn="l"/>
                <a:tab pos="2601214" algn="l"/>
              </a:tabLst>
            </a:pPr>
            <a:r>
              <a:rPr lang="en-US" altLang="zh-CN" dirty="0" smtClean="0"/>
              <a:t>		</a:t>
            </a:r>
            <a:r>
              <a:rPr lang="en-US" altLang="zh-CN" sz="1800" dirty="0">
                <a:solidFill>
                  <a:srgbClr val="E10060"/>
                </a:solidFill>
                <a:latin typeface="Arial Narrow" pitchFamily="18" charset="0"/>
                <a:cs typeface="Arial Narrow" pitchFamily="18" charset="0"/>
              </a:rPr>
              <a:t>П</a:t>
            </a:r>
            <a:r>
              <a:rPr lang="en-US" altLang="zh-CN" sz="1800" dirty="0">
                <a:solidFill>
                  <a:srgbClr val="E10060"/>
                </a:solidFill>
                <a:latin typeface="Times New Roman" pitchFamily="18" charset="0"/>
                <a:cs typeface="Times New Roman" pitchFamily="18" charset="0"/>
              </a:rPr>
              <a:t>овышение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E10060"/>
                </a:solidFill>
                <a:latin typeface="Arial Narrow" pitchFamily="18" charset="0"/>
                <a:cs typeface="Arial Narrow" pitchFamily="18" charset="0"/>
              </a:rPr>
              <a:t>производительности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E10060"/>
                </a:solidFill>
                <a:latin typeface="Arial Narrow" pitchFamily="18" charset="0"/>
                <a:cs typeface="Arial Narrow" pitchFamily="18" charset="0"/>
              </a:rPr>
              <a:t>труда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646"/>
              </a:lnSpc>
              <a:tabLst>
                <a:tab pos="286258" algn="l"/>
                <a:tab pos="2601214" algn="l"/>
              </a:tabLst>
            </a:pPr>
            <a:r>
              <a:rPr lang="en-US" altLang="zh-CN" dirty="0" smtClean="0"/>
              <a:t>	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</a:p>
        </p:txBody>
      </p:sp>
    </p:spTree>
    <p:extLst>
      <p:ext uri="{BB962C8B-B14F-4D97-AF65-F5344CB8AC3E}">
        <p14:creationId xmlns:p14="http://schemas.microsoft.com/office/powerpoint/2010/main" val="2304411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98984" y="1103193"/>
            <a:ext cx="7763530" cy="4656736"/>
          </a:xfrm>
          <a:custGeom>
            <a:avLst/>
            <a:gdLst>
              <a:gd name="connsiteX0" fmla="*/ 0 w 7921688"/>
              <a:gd name="connsiteY0" fmla="*/ 791844 h 4751323"/>
              <a:gd name="connsiteX1" fmla="*/ 791908 w 7921688"/>
              <a:gd name="connsiteY1" fmla="*/ 0 h 4751323"/>
              <a:gd name="connsiteX2" fmla="*/ 791908 w 7921688"/>
              <a:gd name="connsiteY2" fmla="*/ 0 h 4751323"/>
              <a:gd name="connsiteX3" fmla="*/ 791908 w 7921688"/>
              <a:gd name="connsiteY3" fmla="*/ 0 h 4751323"/>
              <a:gd name="connsiteX4" fmla="*/ 7129716 w 7921688"/>
              <a:gd name="connsiteY4" fmla="*/ 0 h 4751323"/>
              <a:gd name="connsiteX5" fmla="*/ 7129716 w 7921688"/>
              <a:gd name="connsiteY5" fmla="*/ 0 h 4751323"/>
              <a:gd name="connsiteX6" fmla="*/ 7921561 w 7921688"/>
              <a:gd name="connsiteY6" fmla="*/ 791844 h 4751323"/>
              <a:gd name="connsiteX7" fmla="*/ 7921561 w 7921688"/>
              <a:gd name="connsiteY7" fmla="*/ 791844 h 4751323"/>
              <a:gd name="connsiteX8" fmla="*/ 7921561 w 7921688"/>
              <a:gd name="connsiteY8" fmla="*/ 791844 h 4751323"/>
              <a:gd name="connsiteX9" fmla="*/ 7921688 w 7921688"/>
              <a:gd name="connsiteY9" fmla="*/ 3959352 h 4751323"/>
              <a:gd name="connsiteX10" fmla="*/ 7921561 w 7921688"/>
              <a:gd name="connsiteY10" fmla="*/ 3959352 h 4751323"/>
              <a:gd name="connsiteX11" fmla="*/ 7129716 w 7921688"/>
              <a:gd name="connsiteY11" fmla="*/ 4751324 h 4751323"/>
              <a:gd name="connsiteX12" fmla="*/ 7129716 w 7921688"/>
              <a:gd name="connsiteY12" fmla="*/ 4751324 h 4751323"/>
              <a:gd name="connsiteX13" fmla="*/ 7129716 w 7921688"/>
              <a:gd name="connsiteY13" fmla="*/ 4751324 h 4751323"/>
              <a:gd name="connsiteX14" fmla="*/ 791908 w 7921688"/>
              <a:gd name="connsiteY14" fmla="*/ 4751324 h 4751323"/>
              <a:gd name="connsiteX15" fmla="*/ 791908 w 7921688"/>
              <a:gd name="connsiteY15" fmla="*/ 4751324 h 4751323"/>
              <a:gd name="connsiteX16" fmla="*/ 0 w 7921688"/>
              <a:gd name="connsiteY16" fmla="*/ 3959352 h 4751323"/>
              <a:gd name="connsiteX17" fmla="*/ 0 w 7921688"/>
              <a:gd name="connsiteY17" fmla="*/ 3959352 h 4751323"/>
              <a:gd name="connsiteX18" fmla="*/ 0 w 7921688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88" h="4751323">
                <a:moveTo>
                  <a:pt x="0" y="791844"/>
                </a:moveTo>
                <a:cubicBezTo>
                  <a:pt x="0" y="354457"/>
                  <a:pt x="354558" y="0"/>
                  <a:pt x="791908" y="0"/>
                </a:cubicBezTo>
                <a:cubicBezTo>
                  <a:pt x="791908" y="0"/>
                  <a:pt x="791908" y="0"/>
                  <a:pt x="791908" y="0"/>
                </a:cubicBezTo>
                <a:lnTo>
                  <a:pt x="791908" y="0"/>
                </a:lnTo>
                <a:lnTo>
                  <a:pt x="7129716" y="0"/>
                </a:lnTo>
                <a:lnTo>
                  <a:pt x="7129716" y="0"/>
                </a:lnTo>
                <a:cubicBezTo>
                  <a:pt x="7567104" y="0"/>
                  <a:pt x="7921561" y="354457"/>
                  <a:pt x="7921561" y="791844"/>
                </a:cubicBezTo>
                <a:cubicBezTo>
                  <a:pt x="7921561" y="791844"/>
                  <a:pt x="7921561" y="791844"/>
                  <a:pt x="7921561" y="791844"/>
                </a:cubicBezTo>
                <a:lnTo>
                  <a:pt x="7921561" y="791844"/>
                </a:lnTo>
                <a:lnTo>
                  <a:pt x="7921688" y="3959352"/>
                </a:lnTo>
                <a:lnTo>
                  <a:pt x="7921561" y="3959352"/>
                </a:lnTo>
                <a:cubicBezTo>
                  <a:pt x="7921561" y="4396739"/>
                  <a:pt x="7567104" y="4751324"/>
                  <a:pt x="7129716" y="4751324"/>
                </a:cubicBezTo>
                <a:cubicBezTo>
                  <a:pt x="7129716" y="4751324"/>
                  <a:pt x="7129716" y="4751324"/>
                  <a:pt x="7129716" y="4751324"/>
                </a:cubicBezTo>
                <a:lnTo>
                  <a:pt x="7129716" y="4751324"/>
                </a:lnTo>
                <a:lnTo>
                  <a:pt x="791908" y="4751324"/>
                </a:lnTo>
                <a:lnTo>
                  <a:pt x="791908" y="4751324"/>
                </a:lnTo>
                <a:cubicBezTo>
                  <a:pt x="354558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72513" y="1867449"/>
            <a:ext cx="7416373" cy="3599350"/>
          </a:xfrm>
          <a:custGeom>
            <a:avLst/>
            <a:gdLst>
              <a:gd name="connsiteX0" fmla="*/ 0 w 7567459"/>
              <a:gd name="connsiteY0" fmla="*/ 612013 h 3672459"/>
              <a:gd name="connsiteX1" fmla="*/ 612051 w 7567459"/>
              <a:gd name="connsiteY1" fmla="*/ 0 h 3672459"/>
              <a:gd name="connsiteX2" fmla="*/ 612051 w 7567459"/>
              <a:gd name="connsiteY2" fmla="*/ 0 h 3672459"/>
              <a:gd name="connsiteX3" fmla="*/ 612051 w 7567459"/>
              <a:gd name="connsiteY3" fmla="*/ 0 h 3672459"/>
              <a:gd name="connsiteX4" fmla="*/ 6955446 w 7567459"/>
              <a:gd name="connsiteY4" fmla="*/ 0 h 3672459"/>
              <a:gd name="connsiteX5" fmla="*/ 6955446 w 7567459"/>
              <a:gd name="connsiteY5" fmla="*/ 0 h 3672459"/>
              <a:gd name="connsiteX6" fmla="*/ 7567459 w 7567459"/>
              <a:gd name="connsiteY6" fmla="*/ 612013 h 3672459"/>
              <a:gd name="connsiteX7" fmla="*/ 7567459 w 7567459"/>
              <a:gd name="connsiteY7" fmla="*/ 612013 h 3672459"/>
              <a:gd name="connsiteX8" fmla="*/ 7567459 w 7567459"/>
              <a:gd name="connsiteY8" fmla="*/ 612013 h 3672459"/>
              <a:gd name="connsiteX9" fmla="*/ 7567459 w 7567459"/>
              <a:gd name="connsiteY9" fmla="*/ 3060446 h 3672459"/>
              <a:gd name="connsiteX10" fmla="*/ 7567459 w 7567459"/>
              <a:gd name="connsiteY10" fmla="*/ 3060446 h 3672459"/>
              <a:gd name="connsiteX11" fmla="*/ 6955446 w 7567459"/>
              <a:gd name="connsiteY11" fmla="*/ 3672459 h 3672459"/>
              <a:gd name="connsiteX12" fmla="*/ 6955446 w 7567459"/>
              <a:gd name="connsiteY12" fmla="*/ 3672459 h 3672459"/>
              <a:gd name="connsiteX13" fmla="*/ 6955446 w 7567459"/>
              <a:gd name="connsiteY13" fmla="*/ 3672459 h 3672459"/>
              <a:gd name="connsiteX14" fmla="*/ 612051 w 7567459"/>
              <a:gd name="connsiteY14" fmla="*/ 3672459 h 3672459"/>
              <a:gd name="connsiteX15" fmla="*/ 612051 w 7567459"/>
              <a:gd name="connsiteY15" fmla="*/ 3672459 h 3672459"/>
              <a:gd name="connsiteX16" fmla="*/ 0 w 7567459"/>
              <a:gd name="connsiteY16" fmla="*/ 3060446 h 3672459"/>
              <a:gd name="connsiteX17" fmla="*/ 0 w 7567459"/>
              <a:gd name="connsiteY17" fmla="*/ 3060446 h 3672459"/>
              <a:gd name="connsiteX18" fmla="*/ 0 w 7567459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459" h="3672459">
                <a:moveTo>
                  <a:pt x="0" y="612013"/>
                </a:moveTo>
                <a:cubicBezTo>
                  <a:pt x="0" y="273939"/>
                  <a:pt x="274053" y="0"/>
                  <a:pt x="612051" y="0"/>
                </a:cubicBezTo>
                <a:cubicBezTo>
                  <a:pt x="612051" y="0"/>
                  <a:pt x="612051" y="0"/>
                  <a:pt x="612051" y="0"/>
                </a:cubicBezTo>
                <a:lnTo>
                  <a:pt x="612051" y="0"/>
                </a:lnTo>
                <a:lnTo>
                  <a:pt x="6955446" y="0"/>
                </a:lnTo>
                <a:lnTo>
                  <a:pt x="6955446" y="0"/>
                </a:lnTo>
                <a:cubicBezTo>
                  <a:pt x="7293393" y="0"/>
                  <a:pt x="7567459" y="273939"/>
                  <a:pt x="7567459" y="612013"/>
                </a:cubicBezTo>
                <a:cubicBezTo>
                  <a:pt x="7567459" y="612013"/>
                  <a:pt x="7567459" y="612013"/>
                  <a:pt x="7567459" y="612013"/>
                </a:cubicBezTo>
                <a:lnTo>
                  <a:pt x="7567459" y="612013"/>
                </a:lnTo>
                <a:lnTo>
                  <a:pt x="7567459" y="3060446"/>
                </a:lnTo>
                <a:lnTo>
                  <a:pt x="7567459" y="3060446"/>
                </a:lnTo>
                <a:cubicBezTo>
                  <a:pt x="7567459" y="3398520"/>
                  <a:pt x="7293393" y="3672459"/>
                  <a:pt x="6955446" y="3672459"/>
                </a:cubicBezTo>
                <a:cubicBezTo>
                  <a:pt x="6955446" y="3672459"/>
                  <a:pt x="6955446" y="3672459"/>
                  <a:pt x="6955446" y="3672459"/>
                </a:cubicBezTo>
                <a:lnTo>
                  <a:pt x="6955446" y="3672459"/>
                </a:lnTo>
                <a:lnTo>
                  <a:pt x="612051" y="3672459"/>
                </a:lnTo>
                <a:lnTo>
                  <a:pt x="612051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09876" y="1107799"/>
            <a:ext cx="7791472" cy="4692585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28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647253"/>
            <a:ext cx="7380740" cy="3969395"/>
          </a:xfrm>
          <a:prstGeom prst="rect">
            <a:avLst/>
          </a:prstGeom>
          <a:noFill/>
        </p:spPr>
        <p:txBody>
          <a:bodyPr wrap="squar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1443736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5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рядо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 err="1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 err="1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егламентирующих</a:t>
            </a:r>
            <a:r>
              <a:rPr lang="ru-RU" altLang="zh-CN" b="1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 err="1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документов</a:t>
            </a:r>
            <a:endParaRPr lang="ru-RU" altLang="zh-CN" sz="1800" dirty="0">
              <a:solidFill>
                <a:srgbClr val="C82B1A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ts val="1960"/>
              </a:lnSpc>
              <a:tabLst>
                <a:tab pos="584962" algn="l"/>
                <a:tab pos="1443736" algn="l"/>
              </a:tabLst>
            </a:pPr>
            <a:endParaRPr lang="en-US" altLang="zh-CN" sz="1800" dirty="0">
              <a:solidFill>
                <a:srgbClr val="C82B1A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960"/>
              </a:lnSpc>
              <a:tabLst>
                <a:tab pos="584962" algn="l"/>
                <a:tab pos="1443736" algn="l"/>
              </a:tabLst>
            </a:pPr>
            <a:r>
              <a:rPr lang="en-US" altLang="zh-CN" dirty="0" smtClean="0"/>
              <a:t>	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лож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254"/>
              </a:lnSpc>
              <a:tabLst>
                <a:tab pos="584962" algn="l"/>
                <a:tab pos="1443736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нцип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:</a:t>
            </a:r>
          </a:p>
          <a:p>
            <a:pPr>
              <a:lnSpc>
                <a:spcPts val="2254"/>
              </a:lnSpc>
              <a:tabLst>
                <a:tab pos="584962" algn="l"/>
                <a:tab pos="1443736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.Разрабатывае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жотраслевом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о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иду</a:t>
            </a:r>
          </a:p>
          <a:p>
            <a:pPr>
              <a:lnSpc>
                <a:spcPts val="1862"/>
              </a:lnSpc>
              <a:tabLst>
                <a:tab pos="584962" algn="l"/>
                <a:tab pos="1443736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кономическо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еятельности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окально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ровн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ровне</a:t>
            </a:r>
          </a:p>
          <a:p>
            <a:pPr>
              <a:lnSpc>
                <a:spcPts val="1862"/>
              </a:lnSpc>
              <a:tabLst>
                <a:tab pos="584962" algn="l"/>
                <a:tab pos="1443736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й).</a:t>
            </a:r>
          </a:p>
          <a:p>
            <a:pPr>
              <a:lnSpc>
                <a:spcPts val="2254"/>
              </a:lnSpc>
              <a:tabLst>
                <a:tab pos="584962" algn="l"/>
                <a:tab pos="1443736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.Направляе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ето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нения</a:t>
            </a:r>
            <a:endParaRPr lang="en-US" altLang="zh-CN" sz="1600" dirty="0">
              <a:solidFill>
                <a:srgbClr val="323937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ts val="1862"/>
              </a:lnSpc>
              <a:tabLst>
                <a:tab pos="584962" algn="l"/>
                <a:tab pos="1443736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ставительно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ов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>
              <a:lnSpc>
                <a:spcPts val="2254"/>
              </a:lnSpc>
              <a:tabLst>
                <a:tab pos="584962" algn="l"/>
                <a:tab pos="1443736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.Утверждае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жотраслево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ровн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ин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осси</a:t>
            </a:r>
            <a:r>
              <a:rPr lang="ru-RU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</a:p>
          <a:p>
            <a:pPr>
              <a:lnSpc>
                <a:spcPts val="1862"/>
              </a:lnSpc>
              <a:tabLst>
                <a:tab pos="584962" algn="l"/>
                <a:tab pos="1443736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о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льны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о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нительно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ласт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</a:p>
          <a:p>
            <a:pPr>
              <a:lnSpc>
                <a:spcPts val="1862"/>
              </a:lnSpc>
              <a:tabLst>
                <a:tab pos="584962" algn="l"/>
                <a:tab pos="1443736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ы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озложен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урирова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л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дотрасл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</a:p>
          <a:p>
            <a:pPr>
              <a:lnSpc>
                <a:spcPts val="1862"/>
              </a:lnSpc>
              <a:tabLst>
                <a:tab pos="584962" algn="l"/>
                <a:tab pos="1443736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окально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ровн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нительны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я.</a:t>
            </a:r>
          </a:p>
        </p:txBody>
      </p:sp>
    </p:spTree>
    <p:extLst>
      <p:ext uri="{BB962C8B-B14F-4D97-AF65-F5344CB8AC3E}">
        <p14:creationId xmlns:p14="http://schemas.microsoft.com/office/powerpoint/2010/main" val="914331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98984" y="1103193"/>
            <a:ext cx="7763530" cy="4656736"/>
          </a:xfrm>
          <a:custGeom>
            <a:avLst/>
            <a:gdLst>
              <a:gd name="connsiteX0" fmla="*/ 0 w 7921688"/>
              <a:gd name="connsiteY0" fmla="*/ 791844 h 4751323"/>
              <a:gd name="connsiteX1" fmla="*/ 791908 w 7921688"/>
              <a:gd name="connsiteY1" fmla="*/ 0 h 4751323"/>
              <a:gd name="connsiteX2" fmla="*/ 791908 w 7921688"/>
              <a:gd name="connsiteY2" fmla="*/ 0 h 4751323"/>
              <a:gd name="connsiteX3" fmla="*/ 791908 w 7921688"/>
              <a:gd name="connsiteY3" fmla="*/ 0 h 4751323"/>
              <a:gd name="connsiteX4" fmla="*/ 7129716 w 7921688"/>
              <a:gd name="connsiteY4" fmla="*/ 0 h 4751323"/>
              <a:gd name="connsiteX5" fmla="*/ 7129716 w 7921688"/>
              <a:gd name="connsiteY5" fmla="*/ 0 h 4751323"/>
              <a:gd name="connsiteX6" fmla="*/ 7921561 w 7921688"/>
              <a:gd name="connsiteY6" fmla="*/ 791844 h 4751323"/>
              <a:gd name="connsiteX7" fmla="*/ 7921561 w 7921688"/>
              <a:gd name="connsiteY7" fmla="*/ 791844 h 4751323"/>
              <a:gd name="connsiteX8" fmla="*/ 7921561 w 7921688"/>
              <a:gd name="connsiteY8" fmla="*/ 791844 h 4751323"/>
              <a:gd name="connsiteX9" fmla="*/ 7921688 w 7921688"/>
              <a:gd name="connsiteY9" fmla="*/ 3959352 h 4751323"/>
              <a:gd name="connsiteX10" fmla="*/ 7921561 w 7921688"/>
              <a:gd name="connsiteY10" fmla="*/ 3959352 h 4751323"/>
              <a:gd name="connsiteX11" fmla="*/ 7129716 w 7921688"/>
              <a:gd name="connsiteY11" fmla="*/ 4751324 h 4751323"/>
              <a:gd name="connsiteX12" fmla="*/ 7129716 w 7921688"/>
              <a:gd name="connsiteY12" fmla="*/ 4751324 h 4751323"/>
              <a:gd name="connsiteX13" fmla="*/ 7129716 w 7921688"/>
              <a:gd name="connsiteY13" fmla="*/ 4751324 h 4751323"/>
              <a:gd name="connsiteX14" fmla="*/ 791908 w 7921688"/>
              <a:gd name="connsiteY14" fmla="*/ 4751324 h 4751323"/>
              <a:gd name="connsiteX15" fmla="*/ 791908 w 7921688"/>
              <a:gd name="connsiteY15" fmla="*/ 4751324 h 4751323"/>
              <a:gd name="connsiteX16" fmla="*/ 0 w 7921688"/>
              <a:gd name="connsiteY16" fmla="*/ 3959352 h 4751323"/>
              <a:gd name="connsiteX17" fmla="*/ 0 w 7921688"/>
              <a:gd name="connsiteY17" fmla="*/ 3959352 h 4751323"/>
              <a:gd name="connsiteX18" fmla="*/ 0 w 7921688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88" h="4751323">
                <a:moveTo>
                  <a:pt x="0" y="791844"/>
                </a:moveTo>
                <a:cubicBezTo>
                  <a:pt x="0" y="354457"/>
                  <a:pt x="354558" y="0"/>
                  <a:pt x="791908" y="0"/>
                </a:cubicBezTo>
                <a:cubicBezTo>
                  <a:pt x="791908" y="0"/>
                  <a:pt x="791908" y="0"/>
                  <a:pt x="791908" y="0"/>
                </a:cubicBezTo>
                <a:lnTo>
                  <a:pt x="791908" y="0"/>
                </a:lnTo>
                <a:lnTo>
                  <a:pt x="7129716" y="0"/>
                </a:lnTo>
                <a:lnTo>
                  <a:pt x="7129716" y="0"/>
                </a:lnTo>
                <a:cubicBezTo>
                  <a:pt x="7567104" y="0"/>
                  <a:pt x="7921561" y="354457"/>
                  <a:pt x="7921561" y="791844"/>
                </a:cubicBezTo>
                <a:cubicBezTo>
                  <a:pt x="7921561" y="791844"/>
                  <a:pt x="7921561" y="791844"/>
                  <a:pt x="7921561" y="791844"/>
                </a:cubicBezTo>
                <a:lnTo>
                  <a:pt x="7921561" y="791844"/>
                </a:lnTo>
                <a:lnTo>
                  <a:pt x="7921688" y="3959352"/>
                </a:lnTo>
                <a:lnTo>
                  <a:pt x="7921561" y="3959352"/>
                </a:lnTo>
                <a:cubicBezTo>
                  <a:pt x="7921561" y="4396739"/>
                  <a:pt x="7567104" y="4751324"/>
                  <a:pt x="7129716" y="4751324"/>
                </a:cubicBezTo>
                <a:cubicBezTo>
                  <a:pt x="7129716" y="4751324"/>
                  <a:pt x="7129716" y="4751324"/>
                  <a:pt x="7129716" y="4751324"/>
                </a:cubicBezTo>
                <a:lnTo>
                  <a:pt x="7129716" y="4751324"/>
                </a:lnTo>
                <a:lnTo>
                  <a:pt x="791908" y="4751324"/>
                </a:lnTo>
                <a:lnTo>
                  <a:pt x="791908" y="4751324"/>
                </a:lnTo>
                <a:cubicBezTo>
                  <a:pt x="354558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72513" y="1867449"/>
            <a:ext cx="7416373" cy="3599350"/>
          </a:xfrm>
          <a:custGeom>
            <a:avLst/>
            <a:gdLst>
              <a:gd name="connsiteX0" fmla="*/ 0 w 7567459"/>
              <a:gd name="connsiteY0" fmla="*/ 612013 h 3672459"/>
              <a:gd name="connsiteX1" fmla="*/ 612051 w 7567459"/>
              <a:gd name="connsiteY1" fmla="*/ 0 h 3672459"/>
              <a:gd name="connsiteX2" fmla="*/ 612051 w 7567459"/>
              <a:gd name="connsiteY2" fmla="*/ 0 h 3672459"/>
              <a:gd name="connsiteX3" fmla="*/ 612051 w 7567459"/>
              <a:gd name="connsiteY3" fmla="*/ 0 h 3672459"/>
              <a:gd name="connsiteX4" fmla="*/ 6955446 w 7567459"/>
              <a:gd name="connsiteY4" fmla="*/ 0 h 3672459"/>
              <a:gd name="connsiteX5" fmla="*/ 6955446 w 7567459"/>
              <a:gd name="connsiteY5" fmla="*/ 0 h 3672459"/>
              <a:gd name="connsiteX6" fmla="*/ 7567459 w 7567459"/>
              <a:gd name="connsiteY6" fmla="*/ 612013 h 3672459"/>
              <a:gd name="connsiteX7" fmla="*/ 7567459 w 7567459"/>
              <a:gd name="connsiteY7" fmla="*/ 612013 h 3672459"/>
              <a:gd name="connsiteX8" fmla="*/ 7567459 w 7567459"/>
              <a:gd name="connsiteY8" fmla="*/ 612013 h 3672459"/>
              <a:gd name="connsiteX9" fmla="*/ 7567459 w 7567459"/>
              <a:gd name="connsiteY9" fmla="*/ 3060446 h 3672459"/>
              <a:gd name="connsiteX10" fmla="*/ 7567459 w 7567459"/>
              <a:gd name="connsiteY10" fmla="*/ 3060446 h 3672459"/>
              <a:gd name="connsiteX11" fmla="*/ 6955446 w 7567459"/>
              <a:gd name="connsiteY11" fmla="*/ 3672459 h 3672459"/>
              <a:gd name="connsiteX12" fmla="*/ 6955446 w 7567459"/>
              <a:gd name="connsiteY12" fmla="*/ 3672459 h 3672459"/>
              <a:gd name="connsiteX13" fmla="*/ 6955446 w 7567459"/>
              <a:gd name="connsiteY13" fmla="*/ 3672459 h 3672459"/>
              <a:gd name="connsiteX14" fmla="*/ 612051 w 7567459"/>
              <a:gd name="connsiteY14" fmla="*/ 3672459 h 3672459"/>
              <a:gd name="connsiteX15" fmla="*/ 612051 w 7567459"/>
              <a:gd name="connsiteY15" fmla="*/ 3672459 h 3672459"/>
              <a:gd name="connsiteX16" fmla="*/ 0 w 7567459"/>
              <a:gd name="connsiteY16" fmla="*/ 3060446 h 3672459"/>
              <a:gd name="connsiteX17" fmla="*/ 0 w 7567459"/>
              <a:gd name="connsiteY17" fmla="*/ 3060446 h 3672459"/>
              <a:gd name="connsiteX18" fmla="*/ 0 w 7567459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459" h="3672459">
                <a:moveTo>
                  <a:pt x="0" y="612013"/>
                </a:moveTo>
                <a:cubicBezTo>
                  <a:pt x="0" y="273939"/>
                  <a:pt x="274053" y="0"/>
                  <a:pt x="612051" y="0"/>
                </a:cubicBezTo>
                <a:cubicBezTo>
                  <a:pt x="612051" y="0"/>
                  <a:pt x="612051" y="0"/>
                  <a:pt x="612051" y="0"/>
                </a:cubicBezTo>
                <a:lnTo>
                  <a:pt x="612051" y="0"/>
                </a:lnTo>
                <a:lnTo>
                  <a:pt x="6955446" y="0"/>
                </a:lnTo>
                <a:lnTo>
                  <a:pt x="6955446" y="0"/>
                </a:lnTo>
                <a:cubicBezTo>
                  <a:pt x="7293393" y="0"/>
                  <a:pt x="7567459" y="273939"/>
                  <a:pt x="7567459" y="612013"/>
                </a:cubicBezTo>
                <a:cubicBezTo>
                  <a:pt x="7567459" y="612013"/>
                  <a:pt x="7567459" y="612013"/>
                  <a:pt x="7567459" y="612013"/>
                </a:cubicBezTo>
                <a:lnTo>
                  <a:pt x="7567459" y="612013"/>
                </a:lnTo>
                <a:lnTo>
                  <a:pt x="7567459" y="3060446"/>
                </a:lnTo>
                <a:lnTo>
                  <a:pt x="7567459" y="3060446"/>
                </a:lnTo>
                <a:cubicBezTo>
                  <a:pt x="7567459" y="3398520"/>
                  <a:pt x="7293393" y="3672459"/>
                  <a:pt x="6955446" y="3672459"/>
                </a:cubicBezTo>
                <a:cubicBezTo>
                  <a:pt x="6955446" y="3672459"/>
                  <a:pt x="6955446" y="3672459"/>
                  <a:pt x="6955446" y="3672459"/>
                </a:cubicBezTo>
                <a:lnTo>
                  <a:pt x="6955446" y="3672459"/>
                </a:lnTo>
                <a:lnTo>
                  <a:pt x="612051" y="3672459"/>
                </a:lnTo>
                <a:lnTo>
                  <a:pt x="612051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29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659700"/>
            <a:ext cx="6531083" cy="4213051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1443736" algn="l"/>
                <a:tab pos="3074162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5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рядо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егламентирующих</a:t>
            </a:r>
          </a:p>
          <a:p>
            <a:pPr>
              <a:lnSpc>
                <a:spcPts val="2058"/>
              </a:lnSpc>
              <a:tabLst>
                <a:tab pos="584962" algn="l"/>
                <a:tab pos="1443736" algn="l"/>
                <a:tab pos="3074162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документов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960"/>
              </a:lnSpc>
              <a:tabLst>
                <a:tab pos="584962" algn="l"/>
                <a:tab pos="1443736" algn="l"/>
                <a:tab pos="3074162" algn="l"/>
              </a:tabLst>
            </a:pPr>
            <a:r>
              <a:rPr lang="en-US" altLang="zh-CN" dirty="0" smtClean="0"/>
              <a:t>	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лож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744"/>
              </a:lnSpc>
              <a:tabLst>
                <a:tab pos="584962" algn="l"/>
                <a:tab pos="1443736" algn="l"/>
                <a:tab pos="3074162" algn="l"/>
              </a:tabLst>
            </a:pPr>
            <a:r>
              <a:rPr lang="en-US" altLang="zh-CN" dirty="0" smtClean="0"/>
              <a:t>		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держание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352"/>
              </a:lnSpc>
              <a:tabLst>
                <a:tab pos="584962" algn="l"/>
                <a:tab pos="1443736" algn="l"/>
                <a:tab pos="3074162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.Нормативн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атериал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понятия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цел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1862"/>
              </a:lnSpc>
              <a:tabLst>
                <a:tab pos="584962" algn="l"/>
                <a:tab pos="1443736" algn="l"/>
                <a:tab pos="3074162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дач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меняем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тивы).</a:t>
            </a:r>
          </a:p>
          <a:p>
            <a:pPr>
              <a:lnSpc>
                <a:spcPts val="2254"/>
              </a:lnSpc>
              <a:tabLst>
                <a:tab pos="584962" algn="l"/>
                <a:tab pos="1443736" algn="l"/>
                <a:tab pos="3074162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.Методическ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.</a:t>
            </a:r>
          </a:p>
          <a:p>
            <a:pPr>
              <a:lnSpc>
                <a:spcPts val="2254"/>
              </a:lnSpc>
              <a:tabLst>
                <a:tab pos="584962" algn="l"/>
                <a:tab pos="1443736" algn="l"/>
                <a:tab pos="3074162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.Порядок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ия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мен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отр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2254"/>
              </a:lnSpc>
              <a:tabLst>
                <a:tab pos="584962" algn="l"/>
                <a:tab pos="1443736" algn="l"/>
                <a:tab pos="3074162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4.Организац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отр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тивных</a:t>
            </a:r>
          </a:p>
          <a:p>
            <a:pPr>
              <a:lnSpc>
                <a:spcPts val="1862"/>
              </a:lnSpc>
              <a:tabLst>
                <a:tab pos="584962" algn="l"/>
                <a:tab pos="1443736" algn="l"/>
                <a:tab pos="3074162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атериалов.</a:t>
            </a:r>
          </a:p>
          <a:p>
            <a:pPr>
              <a:lnSpc>
                <a:spcPts val="2254"/>
              </a:lnSpc>
              <a:tabLst>
                <a:tab pos="584962" algn="l"/>
                <a:tab pos="1443736" algn="l"/>
                <a:tab pos="3074162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5.Порядок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ер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тив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атериалов.</a:t>
            </a:r>
          </a:p>
          <a:p>
            <a:pPr>
              <a:lnSpc>
                <a:spcPts val="2254"/>
              </a:lnSpc>
              <a:tabLst>
                <a:tab pos="584962" algn="l"/>
                <a:tab pos="1443736" algn="l"/>
                <a:tab pos="3074162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6.Порядок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недр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тив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атериалов.</a:t>
            </a:r>
          </a:p>
        </p:txBody>
      </p:sp>
    </p:spTree>
    <p:extLst>
      <p:ext uri="{BB962C8B-B14F-4D97-AF65-F5344CB8AC3E}">
        <p14:creationId xmlns:p14="http://schemas.microsoft.com/office/powerpoint/2010/main" val="4224028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98984" y="1103193"/>
            <a:ext cx="7763530" cy="4656736"/>
          </a:xfrm>
          <a:custGeom>
            <a:avLst/>
            <a:gdLst>
              <a:gd name="connsiteX0" fmla="*/ 0 w 7921688"/>
              <a:gd name="connsiteY0" fmla="*/ 791844 h 4751323"/>
              <a:gd name="connsiteX1" fmla="*/ 791908 w 7921688"/>
              <a:gd name="connsiteY1" fmla="*/ 0 h 4751323"/>
              <a:gd name="connsiteX2" fmla="*/ 791908 w 7921688"/>
              <a:gd name="connsiteY2" fmla="*/ 0 h 4751323"/>
              <a:gd name="connsiteX3" fmla="*/ 791908 w 7921688"/>
              <a:gd name="connsiteY3" fmla="*/ 0 h 4751323"/>
              <a:gd name="connsiteX4" fmla="*/ 7129716 w 7921688"/>
              <a:gd name="connsiteY4" fmla="*/ 0 h 4751323"/>
              <a:gd name="connsiteX5" fmla="*/ 7129716 w 7921688"/>
              <a:gd name="connsiteY5" fmla="*/ 0 h 4751323"/>
              <a:gd name="connsiteX6" fmla="*/ 7921561 w 7921688"/>
              <a:gd name="connsiteY6" fmla="*/ 791844 h 4751323"/>
              <a:gd name="connsiteX7" fmla="*/ 7921561 w 7921688"/>
              <a:gd name="connsiteY7" fmla="*/ 791844 h 4751323"/>
              <a:gd name="connsiteX8" fmla="*/ 7921561 w 7921688"/>
              <a:gd name="connsiteY8" fmla="*/ 791844 h 4751323"/>
              <a:gd name="connsiteX9" fmla="*/ 7921688 w 7921688"/>
              <a:gd name="connsiteY9" fmla="*/ 3959352 h 4751323"/>
              <a:gd name="connsiteX10" fmla="*/ 7921561 w 7921688"/>
              <a:gd name="connsiteY10" fmla="*/ 3959352 h 4751323"/>
              <a:gd name="connsiteX11" fmla="*/ 7129716 w 7921688"/>
              <a:gd name="connsiteY11" fmla="*/ 4751324 h 4751323"/>
              <a:gd name="connsiteX12" fmla="*/ 7129716 w 7921688"/>
              <a:gd name="connsiteY12" fmla="*/ 4751324 h 4751323"/>
              <a:gd name="connsiteX13" fmla="*/ 7129716 w 7921688"/>
              <a:gd name="connsiteY13" fmla="*/ 4751324 h 4751323"/>
              <a:gd name="connsiteX14" fmla="*/ 791908 w 7921688"/>
              <a:gd name="connsiteY14" fmla="*/ 4751324 h 4751323"/>
              <a:gd name="connsiteX15" fmla="*/ 791908 w 7921688"/>
              <a:gd name="connsiteY15" fmla="*/ 4751324 h 4751323"/>
              <a:gd name="connsiteX16" fmla="*/ 0 w 7921688"/>
              <a:gd name="connsiteY16" fmla="*/ 3959352 h 4751323"/>
              <a:gd name="connsiteX17" fmla="*/ 0 w 7921688"/>
              <a:gd name="connsiteY17" fmla="*/ 3959352 h 4751323"/>
              <a:gd name="connsiteX18" fmla="*/ 0 w 7921688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88" h="4751323">
                <a:moveTo>
                  <a:pt x="0" y="791844"/>
                </a:moveTo>
                <a:cubicBezTo>
                  <a:pt x="0" y="354457"/>
                  <a:pt x="354558" y="0"/>
                  <a:pt x="791908" y="0"/>
                </a:cubicBezTo>
                <a:cubicBezTo>
                  <a:pt x="791908" y="0"/>
                  <a:pt x="791908" y="0"/>
                  <a:pt x="791908" y="0"/>
                </a:cubicBezTo>
                <a:lnTo>
                  <a:pt x="791908" y="0"/>
                </a:lnTo>
                <a:lnTo>
                  <a:pt x="7129716" y="0"/>
                </a:lnTo>
                <a:lnTo>
                  <a:pt x="7129716" y="0"/>
                </a:lnTo>
                <a:cubicBezTo>
                  <a:pt x="7567104" y="0"/>
                  <a:pt x="7921561" y="354457"/>
                  <a:pt x="7921561" y="791844"/>
                </a:cubicBezTo>
                <a:cubicBezTo>
                  <a:pt x="7921561" y="791844"/>
                  <a:pt x="7921561" y="791844"/>
                  <a:pt x="7921561" y="791844"/>
                </a:cubicBezTo>
                <a:lnTo>
                  <a:pt x="7921561" y="791844"/>
                </a:lnTo>
                <a:lnTo>
                  <a:pt x="7921688" y="3959352"/>
                </a:lnTo>
                <a:lnTo>
                  <a:pt x="7921561" y="3959352"/>
                </a:lnTo>
                <a:cubicBezTo>
                  <a:pt x="7921561" y="4396739"/>
                  <a:pt x="7567104" y="4751324"/>
                  <a:pt x="7129716" y="4751324"/>
                </a:cubicBezTo>
                <a:cubicBezTo>
                  <a:pt x="7129716" y="4751324"/>
                  <a:pt x="7129716" y="4751324"/>
                  <a:pt x="7129716" y="4751324"/>
                </a:cubicBezTo>
                <a:lnTo>
                  <a:pt x="7129716" y="4751324"/>
                </a:lnTo>
                <a:lnTo>
                  <a:pt x="791908" y="4751324"/>
                </a:lnTo>
                <a:lnTo>
                  <a:pt x="791908" y="4751324"/>
                </a:lnTo>
                <a:cubicBezTo>
                  <a:pt x="354558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72513" y="1867449"/>
            <a:ext cx="7416373" cy="3599350"/>
          </a:xfrm>
          <a:custGeom>
            <a:avLst/>
            <a:gdLst>
              <a:gd name="connsiteX0" fmla="*/ 0 w 7567459"/>
              <a:gd name="connsiteY0" fmla="*/ 612013 h 3672459"/>
              <a:gd name="connsiteX1" fmla="*/ 612051 w 7567459"/>
              <a:gd name="connsiteY1" fmla="*/ 0 h 3672459"/>
              <a:gd name="connsiteX2" fmla="*/ 612051 w 7567459"/>
              <a:gd name="connsiteY2" fmla="*/ 0 h 3672459"/>
              <a:gd name="connsiteX3" fmla="*/ 612051 w 7567459"/>
              <a:gd name="connsiteY3" fmla="*/ 0 h 3672459"/>
              <a:gd name="connsiteX4" fmla="*/ 6955446 w 7567459"/>
              <a:gd name="connsiteY4" fmla="*/ 0 h 3672459"/>
              <a:gd name="connsiteX5" fmla="*/ 6955446 w 7567459"/>
              <a:gd name="connsiteY5" fmla="*/ 0 h 3672459"/>
              <a:gd name="connsiteX6" fmla="*/ 7567459 w 7567459"/>
              <a:gd name="connsiteY6" fmla="*/ 612013 h 3672459"/>
              <a:gd name="connsiteX7" fmla="*/ 7567459 w 7567459"/>
              <a:gd name="connsiteY7" fmla="*/ 612013 h 3672459"/>
              <a:gd name="connsiteX8" fmla="*/ 7567459 w 7567459"/>
              <a:gd name="connsiteY8" fmla="*/ 612013 h 3672459"/>
              <a:gd name="connsiteX9" fmla="*/ 7567459 w 7567459"/>
              <a:gd name="connsiteY9" fmla="*/ 3060446 h 3672459"/>
              <a:gd name="connsiteX10" fmla="*/ 7567459 w 7567459"/>
              <a:gd name="connsiteY10" fmla="*/ 3060446 h 3672459"/>
              <a:gd name="connsiteX11" fmla="*/ 6955446 w 7567459"/>
              <a:gd name="connsiteY11" fmla="*/ 3672459 h 3672459"/>
              <a:gd name="connsiteX12" fmla="*/ 6955446 w 7567459"/>
              <a:gd name="connsiteY12" fmla="*/ 3672459 h 3672459"/>
              <a:gd name="connsiteX13" fmla="*/ 6955446 w 7567459"/>
              <a:gd name="connsiteY13" fmla="*/ 3672459 h 3672459"/>
              <a:gd name="connsiteX14" fmla="*/ 612051 w 7567459"/>
              <a:gd name="connsiteY14" fmla="*/ 3672459 h 3672459"/>
              <a:gd name="connsiteX15" fmla="*/ 612051 w 7567459"/>
              <a:gd name="connsiteY15" fmla="*/ 3672459 h 3672459"/>
              <a:gd name="connsiteX16" fmla="*/ 0 w 7567459"/>
              <a:gd name="connsiteY16" fmla="*/ 3060446 h 3672459"/>
              <a:gd name="connsiteX17" fmla="*/ 0 w 7567459"/>
              <a:gd name="connsiteY17" fmla="*/ 3060446 h 3672459"/>
              <a:gd name="connsiteX18" fmla="*/ 0 w 7567459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459" h="3672459">
                <a:moveTo>
                  <a:pt x="0" y="612013"/>
                </a:moveTo>
                <a:cubicBezTo>
                  <a:pt x="0" y="273939"/>
                  <a:pt x="274053" y="0"/>
                  <a:pt x="612051" y="0"/>
                </a:cubicBezTo>
                <a:cubicBezTo>
                  <a:pt x="612051" y="0"/>
                  <a:pt x="612051" y="0"/>
                  <a:pt x="612051" y="0"/>
                </a:cubicBezTo>
                <a:lnTo>
                  <a:pt x="612051" y="0"/>
                </a:lnTo>
                <a:lnTo>
                  <a:pt x="6955446" y="0"/>
                </a:lnTo>
                <a:lnTo>
                  <a:pt x="6955446" y="0"/>
                </a:lnTo>
                <a:cubicBezTo>
                  <a:pt x="7293393" y="0"/>
                  <a:pt x="7567459" y="273939"/>
                  <a:pt x="7567459" y="612013"/>
                </a:cubicBezTo>
                <a:cubicBezTo>
                  <a:pt x="7567459" y="612013"/>
                  <a:pt x="7567459" y="612013"/>
                  <a:pt x="7567459" y="612013"/>
                </a:cubicBezTo>
                <a:lnTo>
                  <a:pt x="7567459" y="612013"/>
                </a:lnTo>
                <a:lnTo>
                  <a:pt x="7567459" y="3060446"/>
                </a:lnTo>
                <a:lnTo>
                  <a:pt x="7567459" y="3060446"/>
                </a:lnTo>
                <a:cubicBezTo>
                  <a:pt x="7567459" y="3398520"/>
                  <a:pt x="7293393" y="3672459"/>
                  <a:pt x="6955446" y="3672459"/>
                </a:cubicBezTo>
                <a:cubicBezTo>
                  <a:pt x="6955446" y="3672459"/>
                  <a:pt x="6955446" y="3672459"/>
                  <a:pt x="6955446" y="3672459"/>
                </a:cubicBezTo>
                <a:lnTo>
                  <a:pt x="6955446" y="3672459"/>
                </a:lnTo>
                <a:lnTo>
                  <a:pt x="612051" y="3672459"/>
                </a:lnTo>
                <a:lnTo>
                  <a:pt x="612051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30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5" y="684595"/>
            <a:ext cx="6671826" cy="5136381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1543304" algn="l"/>
                <a:tab pos="3148838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5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рядо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егламентирующих</a:t>
            </a:r>
          </a:p>
          <a:p>
            <a:pPr>
              <a:lnSpc>
                <a:spcPts val="2058"/>
              </a:lnSpc>
              <a:tabLst>
                <a:tab pos="584962" algn="l"/>
                <a:tab pos="1543304" algn="l"/>
                <a:tab pos="3148838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документов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960"/>
              </a:lnSpc>
              <a:tabLst>
                <a:tab pos="584962" algn="l"/>
                <a:tab pos="1543304" algn="l"/>
                <a:tab pos="3148838" algn="l"/>
              </a:tabLst>
            </a:pPr>
            <a:r>
              <a:rPr lang="en-US" altLang="zh-CN" dirty="0" smtClean="0"/>
              <a:t>	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каз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вед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ействие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548"/>
              </a:lnSpc>
              <a:tabLst>
                <a:tab pos="584962" algn="l"/>
                <a:tab pos="1543304" algn="l"/>
                <a:tab pos="3148838" algn="l"/>
              </a:tabLst>
            </a:pPr>
            <a:r>
              <a:rPr lang="en-US" altLang="zh-CN" dirty="0" smtClean="0"/>
              <a:t>	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держание</a:t>
            </a:r>
          </a:p>
          <a:p>
            <a:pPr>
              <a:lnSpc>
                <a:spcPts val="2254"/>
              </a:lnSpc>
              <a:tabLst>
                <a:tab pos="584962" algn="l"/>
                <a:tab pos="1543304" algn="l"/>
                <a:tab pos="3148838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.Перечен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иц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л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дразделений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ым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гласован</a:t>
            </a:r>
          </a:p>
          <a:p>
            <a:pPr>
              <a:lnSpc>
                <a:spcPts val="1862"/>
              </a:lnSpc>
              <a:tabLst>
                <a:tab pos="584962" algn="l"/>
                <a:tab pos="1543304" algn="l"/>
                <a:tab pos="3148838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каз.</a:t>
            </a:r>
          </a:p>
          <a:p>
            <a:pPr>
              <a:lnSpc>
                <a:spcPts val="2254"/>
              </a:lnSpc>
              <a:tabLst>
                <a:tab pos="584962" algn="l"/>
                <a:tab pos="1543304" algn="l"/>
                <a:tab pos="3148838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ат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ата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о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ужн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знакомить</a:t>
            </a:r>
          </a:p>
          <a:p>
            <a:pPr>
              <a:lnSpc>
                <a:spcPts val="1862"/>
              </a:lnSpc>
              <a:tabLst>
                <a:tab pos="584962" algn="l"/>
                <a:tab pos="1543304" algn="l"/>
                <a:tab pos="3148838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интересован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о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водимым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м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1862"/>
              </a:lnSpc>
              <a:tabLst>
                <a:tab pos="584962" algn="l"/>
                <a:tab pos="1543304" algn="l"/>
                <a:tab pos="3148838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тивами.</a:t>
            </a:r>
          </a:p>
          <a:p>
            <a:pPr>
              <a:lnSpc>
                <a:spcPts val="2254"/>
              </a:lnSpc>
              <a:tabLst>
                <a:tab pos="584962" algn="l"/>
                <a:tab pos="1543304" algn="l"/>
                <a:tab pos="3148838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.Фак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ет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н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ставительно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ов.</a:t>
            </a:r>
          </a:p>
          <a:p>
            <a:pPr>
              <a:lnSpc>
                <a:spcPts val="2254"/>
              </a:lnSpc>
              <a:tabLst>
                <a:tab pos="584962" algn="l"/>
                <a:tab pos="1543304" algn="l"/>
                <a:tab pos="3148838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4.Дат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вед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ейств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должн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ыт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не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60</a:t>
            </a:r>
          </a:p>
          <a:p>
            <a:pPr>
              <a:lnSpc>
                <a:spcPts val="1862"/>
              </a:lnSpc>
              <a:tabLst>
                <a:tab pos="584962" algn="l"/>
                <a:tab pos="1543304" algn="l"/>
                <a:tab pos="3148838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алендар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не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ат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знакомления).</a:t>
            </a:r>
          </a:p>
          <a:p>
            <a:pPr>
              <a:lnSpc>
                <a:spcPts val="2254"/>
              </a:lnSpc>
              <a:tabLst>
                <a:tab pos="584962" algn="l"/>
                <a:tab pos="1543304" algn="l"/>
                <a:tab pos="3148838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5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рок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ейств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водим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тив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атериало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н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оле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5</a:t>
            </a:r>
          </a:p>
          <a:p>
            <a:pPr>
              <a:lnSpc>
                <a:spcPts val="1862"/>
              </a:lnSpc>
              <a:tabLst>
                <a:tab pos="584962" algn="l"/>
                <a:tab pos="1543304" algn="l"/>
                <a:tab pos="3148838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е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л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60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сяцев).</a:t>
            </a:r>
          </a:p>
          <a:p>
            <a:pPr>
              <a:lnSpc>
                <a:spcPts val="2254"/>
              </a:lnSpc>
              <a:tabLst>
                <a:tab pos="584962" algn="l"/>
                <a:tab pos="1543304" algn="l"/>
                <a:tab pos="3148838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6.Ответственн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урирова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тив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атериало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</a:p>
          <a:p>
            <a:pPr>
              <a:lnSpc>
                <a:spcPts val="1862"/>
              </a:lnSpc>
              <a:tabLst>
                <a:tab pos="584962" algn="l"/>
                <a:tab pos="1543304" algn="l"/>
                <a:tab pos="3148838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иод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ейств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ю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ерк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ониторинга,</a:t>
            </a:r>
          </a:p>
          <a:p>
            <a:pPr>
              <a:lnSpc>
                <a:spcPts val="1862"/>
              </a:lnSpc>
              <a:tabLst>
                <a:tab pos="584962" algn="l"/>
                <a:tab pos="1543304" algn="l"/>
                <a:tab pos="3148838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отра.</a:t>
            </a:r>
          </a:p>
        </p:txBody>
      </p:sp>
    </p:spTree>
    <p:extLst>
      <p:ext uri="{BB962C8B-B14F-4D97-AF65-F5344CB8AC3E}">
        <p14:creationId xmlns:p14="http://schemas.microsoft.com/office/powerpoint/2010/main" val="279817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3"/>
          <p:cNvSpPr/>
          <p:nvPr/>
        </p:nvSpPr>
        <p:spPr>
          <a:xfrm>
            <a:off x="598985" y="1103192"/>
            <a:ext cx="7831985" cy="4728308"/>
          </a:xfrm>
          <a:custGeom>
            <a:avLst/>
            <a:gdLst>
              <a:gd name="connsiteX0" fmla="*/ 0 w 7991538"/>
              <a:gd name="connsiteY0" fmla="*/ 804037 h 4824348"/>
              <a:gd name="connsiteX1" fmla="*/ 804100 w 7991538"/>
              <a:gd name="connsiteY1" fmla="*/ 0 h 4824348"/>
              <a:gd name="connsiteX2" fmla="*/ 804100 w 7991538"/>
              <a:gd name="connsiteY2" fmla="*/ 0 h 4824348"/>
              <a:gd name="connsiteX3" fmla="*/ 804100 w 7991538"/>
              <a:gd name="connsiteY3" fmla="*/ 0 h 4824348"/>
              <a:gd name="connsiteX4" fmla="*/ 7187374 w 7991538"/>
              <a:gd name="connsiteY4" fmla="*/ 0 h 4824348"/>
              <a:gd name="connsiteX5" fmla="*/ 7187374 w 7991538"/>
              <a:gd name="connsiteY5" fmla="*/ 0 h 4824348"/>
              <a:gd name="connsiteX6" fmla="*/ 7991411 w 7991538"/>
              <a:gd name="connsiteY6" fmla="*/ 804037 h 4824348"/>
              <a:gd name="connsiteX7" fmla="*/ 7991411 w 7991538"/>
              <a:gd name="connsiteY7" fmla="*/ 804037 h 4824348"/>
              <a:gd name="connsiteX8" fmla="*/ 7991411 w 7991538"/>
              <a:gd name="connsiteY8" fmla="*/ 804037 h 4824348"/>
              <a:gd name="connsiteX9" fmla="*/ 7991538 w 7991538"/>
              <a:gd name="connsiteY9" fmla="*/ 4020312 h 4824348"/>
              <a:gd name="connsiteX10" fmla="*/ 7991411 w 7991538"/>
              <a:gd name="connsiteY10" fmla="*/ 4020312 h 4824348"/>
              <a:gd name="connsiteX11" fmla="*/ 7187374 w 7991538"/>
              <a:gd name="connsiteY11" fmla="*/ 4824349 h 4824348"/>
              <a:gd name="connsiteX12" fmla="*/ 7187374 w 7991538"/>
              <a:gd name="connsiteY12" fmla="*/ 4824349 h 4824348"/>
              <a:gd name="connsiteX13" fmla="*/ 7187374 w 7991538"/>
              <a:gd name="connsiteY13" fmla="*/ 4824349 h 4824348"/>
              <a:gd name="connsiteX14" fmla="*/ 804100 w 7991538"/>
              <a:gd name="connsiteY14" fmla="*/ 4824349 h 4824348"/>
              <a:gd name="connsiteX15" fmla="*/ 804100 w 7991538"/>
              <a:gd name="connsiteY15" fmla="*/ 4824349 h 4824348"/>
              <a:gd name="connsiteX16" fmla="*/ 0 w 7991538"/>
              <a:gd name="connsiteY16" fmla="*/ 4020312 h 4824348"/>
              <a:gd name="connsiteX17" fmla="*/ 0 w 7991538"/>
              <a:gd name="connsiteY17" fmla="*/ 4020312 h 4824348"/>
              <a:gd name="connsiteX18" fmla="*/ 0 w 7991538"/>
              <a:gd name="connsiteY18" fmla="*/ 804037 h 482434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91538" h="4824348">
                <a:moveTo>
                  <a:pt x="0" y="804037"/>
                </a:moveTo>
                <a:cubicBezTo>
                  <a:pt x="0" y="359918"/>
                  <a:pt x="360006" y="0"/>
                  <a:pt x="804100" y="0"/>
                </a:cubicBezTo>
                <a:cubicBezTo>
                  <a:pt x="804100" y="0"/>
                  <a:pt x="804100" y="0"/>
                  <a:pt x="804100" y="0"/>
                </a:cubicBezTo>
                <a:lnTo>
                  <a:pt x="804100" y="0"/>
                </a:lnTo>
                <a:lnTo>
                  <a:pt x="7187374" y="0"/>
                </a:lnTo>
                <a:lnTo>
                  <a:pt x="7187374" y="0"/>
                </a:lnTo>
                <a:cubicBezTo>
                  <a:pt x="7631493" y="0"/>
                  <a:pt x="7991411" y="359918"/>
                  <a:pt x="7991411" y="804037"/>
                </a:cubicBezTo>
                <a:cubicBezTo>
                  <a:pt x="7991411" y="804037"/>
                  <a:pt x="7991411" y="804037"/>
                  <a:pt x="7991411" y="804037"/>
                </a:cubicBezTo>
                <a:lnTo>
                  <a:pt x="7991411" y="804037"/>
                </a:lnTo>
                <a:lnTo>
                  <a:pt x="7991538" y="4020312"/>
                </a:lnTo>
                <a:lnTo>
                  <a:pt x="7991411" y="4020312"/>
                </a:lnTo>
                <a:cubicBezTo>
                  <a:pt x="7991411" y="4464342"/>
                  <a:pt x="7631493" y="4824349"/>
                  <a:pt x="7187374" y="4824349"/>
                </a:cubicBezTo>
                <a:cubicBezTo>
                  <a:pt x="7187374" y="4824349"/>
                  <a:pt x="7187374" y="4824349"/>
                  <a:pt x="7187374" y="4824349"/>
                </a:cubicBezTo>
                <a:lnTo>
                  <a:pt x="7187374" y="4824349"/>
                </a:lnTo>
                <a:lnTo>
                  <a:pt x="804100" y="4824349"/>
                </a:lnTo>
                <a:lnTo>
                  <a:pt x="804100" y="4824349"/>
                </a:lnTo>
                <a:cubicBezTo>
                  <a:pt x="360006" y="4824349"/>
                  <a:pt x="0" y="4464342"/>
                  <a:pt x="0" y="4020312"/>
                </a:cubicBezTo>
                <a:cubicBezTo>
                  <a:pt x="0" y="4020312"/>
                  <a:pt x="0" y="4020312"/>
                  <a:pt x="0" y="4020312"/>
                </a:cubicBezTo>
                <a:lnTo>
                  <a:pt x="0" y="804037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74044" y="1418979"/>
            <a:ext cx="7481804" cy="4114948"/>
          </a:xfrm>
          <a:custGeom>
            <a:avLst/>
            <a:gdLst>
              <a:gd name="connsiteX0" fmla="*/ 0 w 7634223"/>
              <a:gd name="connsiteY0" fmla="*/ 621538 h 3729011"/>
              <a:gd name="connsiteX1" fmla="*/ 621537 w 7634223"/>
              <a:gd name="connsiteY1" fmla="*/ 0 h 3729011"/>
              <a:gd name="connsiteX2" fmla="*/ 621537 w 7634223"/>
              <a:gd name="connsiteY2" fmla="*/ 0 h 3729011"/>
              <a:gd name="connsiteX3" fmla="*/ 621537 w 7634223"/>
              <a:gd name="connsiteY3" fmla="*/ 0 h 3729011"/>
              <a:gd name="connsiteX4" fmla="*/ 7012685 w 7634223"/>
              <a:gd name="connsiteY4" fmla="*/ 0 h 3729011"/>
              <a:gd name="connsiteX5" fmla="*/ 7012685 w 7634223"/>
              <a:gd name="connsiteY5" fmla="*/ 0 h 3729011"/>
              <a:gd name="connsiteX6" fmla="*/ 7634223 w 7634223"/>
              <a:gd name="connsiteY6" fmla="*/ 621538 h 3729011"/>
              <a:gd name="connsiteX7" fmla="*/ 7634223 w 7634223"/>
              <a:gd name="connsiteY7" fmla="*/ 621538 h 3729011"/>
              <a:gd name="connsiteX8" fmla="*/ 7634223 w 7634223"/>
              <a:gd name="connsiteY8" fmla="*/ 621538 h 3729011"/>
              <a:gd name="connsiteX9" fmla="*/ 7634223 w 7634223"/>
              <a:gd name="connsiteY9" fmla="*/ 3107435 h 3729011"/>
              <a:gd name="connsiteX10" fmla="*/ 7634223 w 7634223"/>
              <a:gd name="connsiteY10" fmla="*/ 3107435 h 3729011"/>
              <a:gd name="connsiteX11" fmla="*/ 7012685 w 7634223"/>
              <a:gd name="connsiteY11" fmla="*/ 3729011 h 3729011"/>
              <a:gd name="connsiteX12" fmla="*/ 7012685 w 7634223"/>
              <a:gd name="connsiteY12" fmla="*/ 3729011 h 3729011"/>
              <a:gd name="connsiteX13" fmla="*/ 7012685 w 7634223"/>
              <a:gd name="connsiteY13" fmla="*/ 3729011 h 3729011"/>
              <a:gd name="connsiteX14" fmla="*/ 621537 w 7634223"/>
              <a:gd name="connsiteY14" fmla="*/ 3729011 h 3729011"/>
              <a:gd name="connsiteX15" fmla="*/ 621537 w 7634223"/>
              <a:gd name="connsiteY15" fmla="*/ 3729011 h 3729011"/>
              <a:gd name="connsiteX16" fmla="*/ 0 w 7634223"/>
              <a:gd name="connsiteY16" fmla="*/ 3107435 h 3729011"/>
              <a:gd name="connsiteX17" fmla="*/ 0 w 7634223"/>
              <a:gd name="connsiteY17" fmla="*/ 3107435 h 3729011"/>
              <a:gd name="connsiteX18" fmla="*/ 0 w 7634223"/>
              <a:gd name="connsiteY18" fmla="*/ 621538 h 372901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634223" h="3729011">
                <a:moveTo>
                  <a:pt x="0" y="621538"/>
                </a:moveTo>
                <a:cubicBezTo>
                  <a:pt x="0" y="278257"/>
                  <a:pt x="278269" y="0"/>
                  <a:pt x="621537" y="0"/>
                </a:cubicBezTo>
                <a:cubicBezTo>
                  <a:pt x="621537" y="0"/>
                  <a:pt x="621537" y="0"/>
                  <a:pt x="621537" y="0"/>
                </a:cubicBezTo>
                <a:lnTo>
                  <a:pt x="621537" y="0"/>
                </a:lnTo>
                <a:lnTo>
                  <a:pt x="7012685" y="0"/>
                </a:lnTo>
                <a:lnTo>
                  <a:pt x="7012685" y="0"/>
                </a:lnTo>
                <a:cubicBezTo>
                  <a:pt x="7355967" y="0"/>
                  <a:pt x="7634223" y="278257"/>
                  <a:pt x="7634223" y="621538"/>
                </a:cubicBezTo>
                <a:cubicBezTo>
                  <a:pt x="7634223" y="621538"/>
                  <a:pt x="7634223" y="621538"/>
                  <a:pt x="7634223" y="621538"/>
                </a:cubicBezTo>
                <a:lnTo>
                  <a:pt x="7634223" y="621538"/>
                </a:lnTo>
                <a:lnTo>
                  <a:pt x="7634223" y="3107435"/>
                </a:lnTo>
                <a:lnTo>
                  <a:pt x="7634223" y="3107435"/>
                </a:lnTo>
                <a:cubicBezTo>
                  <a:pt x="7634223" y="3450716"/>
                  <a:pt x="7355967" y="3729011"/>
                  <a:pt x="7012685" y="3729011"/>
                </a:cubicBezTo>
                <a:cubicBezTo>
                  <a:pt x="7012685" y="3729011"/>
                  <a:pt x="7012685" y="3729011"/>
                  <a:pt x="7012685" y="3729011"/>
                </a:cubicBezTo>
                <a:lnTo>
                  <a:pt x="7012685" y="3729011"/>
                </a:lnTo>
                <a:lnTo>
                  <a:pt x="621537" y="3729011"/>
                </a:lnTo>
                <a:lnTo>
                  <a:pt x="621537" y="3729011"/>
                </a:lnTo>
                <a:cubicBezTo>
                  <a:pt x="278269" y="3729011"/>
                  <a:pt x="0" y="3450716"/>
                  <a:pt x="0" y="3107435"/>
                </a:cubicBezTo>
                <a:cubicBezTo>
                  <a:pt x="0" y="3107435"/>
                  <a:pt x="0" y="3107435"/>
                  <a:pt x="0" y="3107435"/>
                </a:cubicBezTo>
                <a:lnTo>
                  <a:pt x="0" y="621538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547643" y="585017"/>
            <a:ext cx="3375989" cy="30172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1.Нормирова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: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нятия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8737402" y="6410296"/>
            <a:ext cx="51296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4</a:t>
            </a:r>
          </a:p>
        </p:txBody>
      </p:sp>
      <p:sp>
        <p:nvSpPr>
          <p:cNvPr id="11" name="TextBox 1"/>
          <p:cNvSpPr txBox="1"/>
          <p:nvPr/>
        </p:nvSpPr>
        <p:spPr>
          <a:xfrm>
            <a:off x="958377" y="2190704"/>
            <a:ext cx="7845096" cy="2648520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862"/>
              </a:lnSpc>
              <a:tabLst>
                <a:tab pos="87122" algn="l"/>
              </a:tabLst>
            </a:pPr>
            <a:r>
              <a:rPr lang="en-US" altLang="zh-CN" sz="17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ирование</a:t>
            </a:r>
            <a:r>
              <a:rPr lang="ru-RU" altLang="zh-CN" sz="17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 </a:t>
            </a:r>
            <a:r>
              <a:rPr lang="en-US" altLang="zh-CN" sz="17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редставляе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об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оставную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часть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(функцию)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правле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ключае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еб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пределе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еобходим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затра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(времени)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ыполне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(изготовление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единиц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родукции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каза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слуг)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тдельным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никам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(группам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ников)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становле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эт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снов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а.</a:t>
            </a:r>
          </a:p>
          <a:p>
            <a:pPr>
              <a:lnSpc>
                <a:spcPts val="2352"/>
              </a:lnSpc>
              <a:tabLst>
                <a:tab pos="87122" algn="l"/>
              </a:tabLst>
            </a:pPr>
            <a:r>
              <a:rPr lang="en-US" altLang="zh-CN" sz="17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ниверсальным</a:t>
            </a:r>
            <a:r>
              <a:rPr lang="ru-RU" altLang="zh-CN" sz="17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 </a:t>
            </a:r>
            <a:r>
              <a:rPr lang="en-US" altLang="zh-CN" sz="17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змерителе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количеств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а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затраченно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ыполне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л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ной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ы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являе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че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ремя.</a:t>
            </a:r>
          </a:p>
          <a:p>
            <a:pPr>
              <a:lnSpc>
                <a:spcPts val="2352"/>
              </a:lnSpc>
              <a:tabLst>
                <a:tab pos="87122" algn="l"/>
              </a:tabLst>
            </a:pPr>
            <a:r>
              <a:rPr lang="en-US" altLang="zh-CN" sz="17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ы</a:t>
            </a:r>
            <a:r>
              <a:rPr lang="ru-RU" altLang="zh-CN" sz="17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 </a:t>
            </a:r>
            <a:r>
              <a:rPr lang="en-US" altLang="zh-CN" sz="17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–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эт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становленн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оказател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затра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а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еобходим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дл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ыполнения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конкретн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бъемо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пределенн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рганизационно-технически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словиях.</a:t>
            </a:r>
          </a:p>
          <a:p>
            <a:pPr>
              <a:lnSpc>
                <a:spcPts val="2352"/>
              </a:lnSpc>
              <a:tabLst>
                <a:tab pos="87122" algn="l"/>
              </a:tabLst>
            </a:pPr>
            <a:r>
              <a:rPr lang="en-US" altLang="zh-CN" sz="17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ативы</a:t>
            </a:r>
            <a:r>
              <a:rPr lang="ru-RU" altLang="zh-CN" sz="17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 </a:t>
            </a:r>
            <a:r>
              <a:rPr lang="en-US" altLang="zh-CN" sz="17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–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заране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становленна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счетна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еличина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редставляюща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обой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затрат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а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котор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можн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ложить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дл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ыполне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конкретно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бъем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ли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бслужива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о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л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но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бъекта.</a:t>
            </a:r>
          </a:p>
        </p:txBody>
      </p:sp>
    </p:spTree>
    <p:extLst>
      <p:ext uri="{BB962C8B-B14F-4D97-AF65-F5344CB8AC3E}">
        <p14:creationId xmlns:p14="http://schemas.microsoft.com/office/powerpoint/2010/main" val="1455599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279004" y="896196"/>
            <a:ext cx="8278376" cy="5240781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 dirty="0"/>
          </a:p>
        </p:txBody>
      </p:sp>
      <p:sp>
        <p:nvSpPr>
          <p:cNvPr id="5" name="Freeform 3"/>
          <p:cNvSpPr/>
          <p:nvPr/>
        </p:nvSpPr>
        <p:spPr>
          <a:xfrm>
            <a:off x="563916" y="1103193"/>
            <a:ext cx="7763530" cy="4656736"/>
          </a:xfrm>
          <a:custGeom>
            <a:avLst/>
            <a:gdLst>
              <a:gd name="connsiteX0" fmla="*/ 0 w 7921688"/>
              <a:gd name="connsiteY0" fmla="*/ 791844 h 4751323"/>
              <a:gd name="connsiteX1" fmla="*/ 791908 w 7921688"/>
              <a:gd name="connsiteY1" fmla="*/ 0 h 4751323"/>
              <a:gd name="connsiteX2" fmla="*/ 791908 w 7921688"/>
              <a:gd name="connsiteY2" fmla="*/ 0 h 4751323"/>
              <a:gd name="connsiteX3" fmla="*/ 791908 w 7921688"/>
              <a:gd name="connsiteY3" fmla="*/ 0 h 4751323"/>
              <a:gd name="connsiteX4" fmla="*/ 7129716 w 7921688"/>
              <a:gd name="connsiteY4" fmla="*/ 0 h 4751323"/>
              <a:gd name="connsiteX5" fmla="*/ 7129716 w 7921688"/>
              <a:gd name="connsiteY5" fmla="*/ 0 h 4751323"/>
              <a:gd name="connsiteX6" fmla="*/ 7921561 w 7921688"/>
              <a:gd name="connsiteY6" fmla="*/ 791844 h 4751323"/>
              <a:gd name="connsiteX7" fmla="*/ 7921561 w 7921688"/>
              <a:gd name="connsiteY7" fmla="*/ 791844 h 4751323"/>
              <a:gd name="connsiteX8" fmla="*/ 7921561 w 7921688"/>
              <a:gd name="connsiteY8" fmla="*/ 791844 h 4751323"/>
              <a:gd name="connsiteX9" fmla="*/ 7921688 w 7921688"/>
              <a:gd name="connsiteY9" fmla="*/ 3959352 h 4751323"/>
              <a:gd name="connsiteX10" fmla="*/ 7921561 w 7921688"/>
              <a:gd name="connsiteY10" fmla="*/ 3959352 h 4751323"/>
              <a:gd name="connsiteX11" fmla="*/ 7129716 w 7921688"/>
              <a:gd name="connsiteY11" fmla="*/ 4751324 h 4751323"/>
              <a:gd name="connsiteX12" fmla="*/ 7129716 w 7921688"/>
              <a:gd name="connsiteY12" fmla="*/ 4751324 h 4751323"/>
              <a:gd name="connsiteX13" fmla="*/ 7129716 w 7921688"/>
              <a:gd name="connsiteY13" fmla="*/ 4751324 h 4751323"/>
              <a:gd name="connsiteX14" fmla="*/ 791908 w 7921688"/>
              <a:gd name="connsiteY14" fmla="*/ 4751324 h 4751323"/>
              <a:gd name="connsiteX15" fmla="*/ 791908 w 7921688"/>
              <a:gd name="connsiteY15" fmla="*/ 4751324 h 4751323"/>
              <a:gd name="connsiteX16" fmla="*/ 0 w 7921688"/>
              <a:gd name="connsiteY16" fmla="*/ 3959352 h 4751323"/>
              <a:gd name="connsiteX17" fmla="*/ 0 w 7921688"/>
              <a:gd name="connsiteY17" fmla="*/ 3959352 h 4751323"/>
              <a:gd name="connsiteX18" fmla="*/ 0 w 7921688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88" h="4751323">
                <a:moveTo>
                  <a:pt x="0" y="791844"/>
                </a:moveTo>
                <a:cubicBezTo>
                  <a:pt x="0" y="354457"/>
                  <a:pt x="354558" y="0"/>
                  <a:pt x="791908" y="0"/>
                </a:cubicBezTo>
                <a:cubicBezTo>
                  <a:pt x="791908" y="0"/>
                  <a:pt x="791908" y="0"/>
                  <a:pt x="791908" y="0"/>
                </a:cubicBezTo>
                <a:lnTo>
                  <a:pt x="791908" y="0"/>
                </a:lnTo>
                <a:lnTo>
                  <a:pt x="7129716" y="0"/>
                </a:lnTo>
                <a:lnTo>
                  <a:pt x="7129716" y="0"/>
                </a:lnTo>
                <a:cubicBezTo>
                  <a:pt x="7567104" y="0"/>
                  <a:pt x="7921561" y="354457"/>
                  <a:pt x="7921561" y="791844"/>
                </a:cubicBezTo>
                <a:cubicBezTo>
                  <a:pt x="7921561" y="791844"/>
                  <a:pt x="7921561" y="791844"/>
                  <a:pt x="7921561" y="791844"/>
                </a:cubicBezTo>
                <a:lnTo>
                  <a:pt x="7921561" y="791844"/>
                </a:lnTo>
                <a:lnTo>
                  <a:pt x="7921688" y="3959352"/>
                </a:lnTo>
                <a:lnTo>
                  <a:pt x="7921561" y="3959352"/>
                </a:lnTo>
                <a:cubicBezTo>
                  <a:pt x="7921561" y="4396739"/>
                  <a:pt x="7567104" y="4751324"/>
                  <a:pt x="7129716" y="4751324"/>
                </a:cubicBezTo>
                <a:cubicBezTo>
                  <a:pt x="7129716" y="4751324"/>
                  <a:pt x="7129716" y="4751324"/>
                  <a:pt x="7129716" y="4751324"/>
                </a:cubicBezTo>
                <a:lnTo>
                  <a:pt x="7129716" y="4751324"/>
                </a:lnTo>
                <a:lnTo>
                  <a:pt x="791908" y="4751324"/>
                </a:lnTo>
                <a:lnTo>
                  <a:pt x="791908" y="4751324"/>
                </a:lnTo>
                <a:cubicBezTo>
                  <a:pt x="354558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72513" y="1867449"/>
            <a:ext cx="7416373" cy="3599350"/>
          </a:xfrm>
          <a:custGeom>
            <a:avLst/>
            <a:gdLst>
              <a:gd name="connsiteX0" fmla="*/ 0 w 7567459"/>
              <a:gd name="connsiteY0" fmla="*/ 612013 h 3672459"/>
              <a:gd name="connsiteX1" fmla="*/ 612051 w 7567459"/>
              <a:gd name="connsiteY1" fmla="*/ 0 h 3672459"/>
              <a:gd name="connsiteX2" fmla="*/ 612051 w 7567459"/>
              <a:gd name="connsiteY2" fmla="*/ 0 h 3672459"/>
              <a:gd name="connsiteX3" fmla="*/ 612051 w 7567459"/>
              <a:gd name="connsiteY3" fmla="*/ 0 h 3672459"/>
              <a:gd name="connsiteX4" fmla="*/ 6955446 w 7567459"/>
              <a:gd name="connsiteY4" fmla="*/ 0 h 3672459"/>
              <a:gd name="connsiteX5" fmla="*/ 6955446 w 7567459"/>
              <a:gd name="connsiteY5" fmla="*/ 0 h 3672459"/>
              <a:gd name="connsiteX6" fmla="*/ 7567459 w 7567459"/>
              <a:gd name="connsiteY6" fmla="*/ 612013 h 3672459"/>
              <a:gd name="connsiteX7" fmla="*/ 7567459 w 7567459"/>
              <a:gd name="connsiteY7" fmla="*/ 612013 h 3672459"/>
              <a:gd name="connsiteX8" fmla="*/ 7567459 w 7567459"/>
              <a:gd name="connsiteY8" fmla="*/ 612013 h 3672459"/>
              <a:gd name="connsiteX9" fmla="*/ 7567459 w 7567459"/>
              <a:gd name="connsiteY9" fmla="*/ 3060446 h 3672459"/>
              <a:gd name="connsiteX10" fmla="*/ 7567459 w 7567459"/>
              <a:gd name="connsiteY10" fmla="*/ 3060446 h 3672459"/>
              <a:gd name="connsiteX11" fmla="*/ 6955446 w 7567459"/>
              <a:gd name="connsiteY11" fmla="*/ 3672459 h 3672459"/>
              <a:gd name="connsiteX12" fmla="*/ 6955446 w 7567459"/>
              <a:gd name="connsiteY12" fmla="*/ 3672459 h 3672459"/>
              <a:gd name="connsiteX13" fmla="*/ 6955446 w 7567459"/>
              <a:gd name="connsiteY13" fmla="*/ 3672459 h 3672459"/>
              <a:gd name="connsiteX14" fmla="*/ 612051 w 7567459"/>
              <a:gd name="connsiteY14" fmla="*/ 3672459 h 3672459"/>
              <a:gd name="connsiteX15" fmla="*/ 612051 w 7567459"/>
              <a:gd name="connsiteY15" fmla="*/ 3672459 h 3672459"/>
              <a:gd name="connsiteX16" fmla="*/ 0 w 7567459"/>
              <a:gd name="connsiteY16" fmla="*/ 3060446 h 3672459"/>
              <a:gd name="connsiteX17" fmla="*/ 0 w 7567459"/>
              <a:gd name="connsiteY17" fmla="*/ 3060446 h 3672459"/>
              <a:gd name="connsiteX18" fmla="*/ 0 w 7567459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459" h="3672459">
                <a:moveTo>
                  <a:pt x="0" y="612013"/>
                </a:moveTo>
                <a:cubicBezTo>
                  <a:pt x="0" y="273939"/>
                  <a:pt x="274053" y="0"/>
                  <a:pt x="612051" y="0"/>
                </a:cubicBezTo>
                <a:cubicBezTo>
                  <a:pt x="612051" y="0"/>
                  <a:pt x="612051" y="0"/>
                  <a:pt x="612051" y="0"/>
                </a:cubicBezTo>
                <a:lnTo>
                  <a:pt x="612051" y="0"/>
                </a:lnTo>
                <a:lnTo>
                  <a:pt x="6955446" y="0"/>
                </a:lnTo>
                <a:lnTo>
                  <a:pt x="6955446" y="0"/>
                </a:lnTo>
                <a:cubicBezTo>
                  <a:pt x="7293393" y="0"/>
                  <a:pt x="7567459" y="273939"/>
                  <a:pt x="7567459" y="612013"/>
                </a:cubicBezTo>
                <a:cubicBezTo>
                  <a:pt x="7567459" y="612013"/>
                  <a:pt x="7567459" y="612013"/>
                  <a:pt x="7567459" y="612013"/>
                </a:cubicBezTo>
                <a:lnTo>
                  <a:pt x="7567459" y="612013"/>
                </a:lnTo>
                <a:lnTo>
                  <a:pt x="7567459" y="3060446"/>
                </a:lnTo>
                <a:lnTo>
                  <a:pt x="7567459" y="3060446"/>
                </a:lnTo>
                <a:cubicBezTo>
                  <a:pt x="7567459" y="3398520"/>
                  <a:pt x="7293393" y="3672459"/>
                  <a:pt x="6955446" y="3672459"/>
                </a:cubicBezTo>
                <a:cubicBezTo>
                  <a:pt x="6955446" y="3672459"/>
                  <a:pt x="6955446" y="3672459"/>
                  <a:pt x="6955446" y="3672459"/>
                </a:cubicBezTo>
                <a:lnTo>
                  <a:pt x="6955446" y="3672459"/>
                </a:lnTo>
                <a:lnTo>
                  <a:pt x="612051" y="3672459"/>
                </a:lnTo>
                <a:lnTo>
                  <a:pt x="612051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31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1253792" y="1856879"/>
            <a:ext cx="6939336" cy="3366666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960"/>
              </a:lnSpc>
              <a:tabLst>
                <a:tab pos="584962" algn="l"/>
                <a:tab pos="1082802" algn="l"/>
              </a:tabLst>
            </a:pPr>
            <a:r>
              <a:rPr lang="en-US" altLang="zh-CN" dirty="0" smtClean="0"/>
              <a:t>	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каз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вед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ействие</a:t>
            </a:r>
            <a:r>
              <a:rPr lang="ru-RU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(пример)</a:t>
            </a: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254"/>
              </a:lnSpc>
              <a:tabLst>
                <a:tab pos="584962" algn="l"/>
                <a:tab pos="1082802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КАЗЫВАЮ:</a:t>
            </a:r>
          </a:p>
          <a:p>
            <a:pPr>
              <a:lnSpc>
                <a:spcPts val="1960"/>
              </a:lnSpc>
              <a:tabLst>
                <a:tab pos="584962" algn="l"/>
                <a:tab pos="1082802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.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дить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спомогательн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…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01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враля</a:t>
            </a:r>
          </a:p>
          <a:p>
            <a:pPr>
              <a:lnSpc>
                <a:spcPts val="1568"/>
              </a:lnSpc>
              <a:tabLst>
                <a:tab pos="584962" algn="l"/>
                <a:tab pos="1082802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012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да.</a:t>
            </a:r>
          </a:p>
          <a:p>
            <a:pPr>
              <a:lnSpc>
                <a:spcPts val="1960"/>
              </a:lnSpc>
              <a:tabLst>
                <a:tab pos="584962" algn="l"/>
                <a:tab pos="1082802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.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знакомить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о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дразделе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……с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водимым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ми</a:t>
            </a:r>
          </a:p>
          <a:p>
            <a:pPr>
              <a:lnSpc>
                <a:spcPts val="1568"/>
              </a:lnSpc>
              <a:tabLst>
                <a:tab pos="584962" algn="l"/>
                <a:tab pos="1082802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спомогательн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д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оспись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01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арт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012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да.</a:t>
            </a:r>
          </a:p>
          <a:p>
            <a:pPr>
              <a:lnSpc>
                <a:spcPts val="1960"/>
              </a:lnSpc>
              <a:tabLst>
                <a:tab pos="584962" algn="l"/>
                <a:tab pos="1082802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не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ставительно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о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ложительно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письм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</a:p>
          <a:p>
            <a:pPr>
              <a:lnSpc>
                <a:spcPts val="1568"/>
              </a:lnSpc>
              <a:tabLst>
                <a:tab pos="584962" algn="l"/>
                <a:tab pos="1082802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5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январ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012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.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№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2-12).</a:t>
            </a:r>
          </a:p>
          <a:p>
            <a:pPr>
              <a:lnSpc>
                <a:spcPts val="1960"/>
              </a:lnSpc>
              <a:tabLst>
                <a:tab pos="584962" algn="l"/>
                <a:tab pos="1082802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4.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вест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ейств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спомогательн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01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ая</a:t>
            </a:r>
          </a:p>
          <a:p>
            <a:pPr>
              <a:lnSpc>
                <a:spcPts val="1568"/>
              </a:lnSpc>
              <a:tabLst>
                <a:tab pos="584962" algn="l"/>
                <a:tab pos="1082802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012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да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рок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ейств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01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а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017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да.</a:t>
            </a:r>
          </a:p>
          <a:p>
            <a:pPr>
              <a:lnSpc>
                <a:spcPts val="1960"/>
              </a:lnSpc>
              <a:tabLst>
                <a:tab pos="584962" algn="l"/>
                <a:tab pos="1082802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5.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не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каза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едение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мену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отр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ониторинг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</a:p>
          <a:p>
            <a:pPr>
              <a:lnSpc>
                <a:spcPts val="1568"/>
              </a:lnSpc>
              <a:tabLst>
                <a:tab pos="584962" algn="l"/>
                <a:tab pos="1082802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спомогательн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значае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ветственны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дел</a:t>
            </a:r>
          </a:p>
          <a:p>
            <a:pPr>
              <a:lnSpc>
                <a:spcPts val="1568"/>
              </a:lnSpc>
              <a:tabLst>
                <a:tab pos="584962" algn="l"/>
                <a:tab pos="1082802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адров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иц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чальник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дел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адров.</a:t>
            </a:r>
          </a:p>
        </p:txBody>
      </p:sp>
    </p:spTree>
    <p:extLst>
      <p:ext uri="{BB962C8B-B14F-4D97-AF65-F5344CB8AC3E}">
        <p14:creationId xmlns:p14="http://schemas.microsoft.com/office/powerpoint/2010/main" val="1816246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32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1194858" y="2240492"/>
            <a:ext cx="134652" cy="219967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176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.</a:t>
            </a:r>
          </a:p>
          <a:p>
            <a:pPr>
              <a:lnSpc>
                <a:spcPts val="196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.</a:t>
            </a:r>
          </a:p>
          <a:p>
            <a:pPr>
              <a:lnSpc>
                <a:spcPts val="1666"/>
              </a:lnSpc>
            </a:pP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</a:p>
          <a:p>
            <a:pPr>
              <a:lnSpc>
                <a:spcPts val="1666"/>
              </a:lnSpc>
            </a:pP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</a:p>
          <a:p>
            <a:pPr>
              <a:lnSpc>
                <a:spcPts val="1666"/>
              </a:lnSpc>
            </a:pP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</a:p>
          <a:p>
            <a:pPr>
              <a:lnSpc>
                <a:spcPts val="1666"/>
              </a:lnSpc>
            </a:pP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</a:p>
          <a:p>
            <a:pPr>
              <a:lnSpc>
                <a:spcPts val="1666"/>
              </a:lnSpc>
            </a:pP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</a:p>
          <a:p>
            <a:pPr>
              <a:lnSpc>
                <a:spcPts val="1666"/>
              </a:lnSpc>
            </a:pP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</a:p>
          <a:p>
            <a:pPr>
              <a:lnSpc>
                <a:spcPts val="1666"/>
              </a:lnSpc>
            </a:pP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</a:p>
          <a:p>
            <a:pPr>
              <a:lnSpc>
                <a:spcPts val="1666"/>
              </a:lnSpc>
            </a:pP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1530912" y="2215597"/>
            <a:ext cx="2237344" cy="223815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47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щ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ложения</a:t>
            </a:r>
          </a:p>
          <a:p>
            <a:pPr>
              <a:lnSpc>
                <a:spcPts val="196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лжностн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язанности:</a:t>
            </a:r>
          </a:p>
          <a:p>
            <a:pPr>
              <a:lnSpc>
                <a:spcPts val="1666"/>
              </a:lnSpc>
            </a:pP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лжен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нать;</a:t>
            </a:r>
          </a:p>
          <a:p>
            <a:pPr>
              <a:lnSpc>
                <a:spcPts val="1666"/>
              </a:lnSpc>
            </a:pP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лжен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меть;</a:t>
            </a:r>
          </a:p>
          <a:p>
            <a:pPr>
              <a:lnSpc>
                <a:spcPts val="1666"/>
              </a:lnSpc>
            </a:pP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елает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ам;</a:t>
            </a:r>
          </a:p>
          <a:p>
            <a:pPr>
              <a:lnSpc>
                <a:spcPts val="1666"/>
              </a:lnSpc>
            </a:pP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нимает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астие;</a:t>
            </a:r>
          </a:p>
          <a:p>
            <a:pPr>
              <a:lnSpc>
                <a:spcPts val="1666"/>
              </a:lnSpc>
            </a:pP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язан;</a:t>
            </a:r>
          </a:p>
          <a:p>
            <a:pPr>
              <a:lnSpc>
                <a:spcPts val="1666"/>
              </a:lnSpc>
            </a:pP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лжен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овать;</a:t>
            </a:r>
          </a:p>
          <a:p>
            <a:pPr>
              <a:lnSpc>
                <a:spcPts val="1666"/>
              </a:lnSpc>
            </a:pP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нтролирует;</a:t>
            </a:r>
          </a:p>
          <a:p>
            <a:pPr>
              <a:lnSpc>
                <a:spcPts val="1666"/>
              </a:lnSpc>
            </a:pP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еспечивает;</a:t>
            </a:r>
          </a:p>
        </p:txBody>
      </p:sp>
      <p:sp>
        <p:nvSpPr>
          <p:cNvPr id="11" name="TextBox 1"/>
          <p:cNvSpPr txBox="1"/>
          <p:nvPr/>
        </p:nvSpPr>
        <p:spPr>
          <a:xfrm>
            <a:off x="1194859" y="4368959"/>
            <a:ext cx="1624419" cy="49408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47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ава.</a:t>
            </a:r>
          </a:p>
          <a:p>
            <a:pPr>
              <a:lnSpc>
                <a:spcPts val="196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4.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ветственность.</a:t>
            </a:r>
          </a:p>
        </p:txBody>
      </p:sp>
      <p:sp>
        <p:nvSpPr>
          <p:cNvPr id="12" name="TextBox 1"/>
          <p:cNvSpPr txBox="1"/>
          <p:nvPr/>
        </p:nvSpPr>
        <p:spPr>
          <a:xfrm>
            <a:off x="609876" y="572570"/>
            <a:ext cx="6987106" cy="1622598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1082802" algn="l"/>
                <a:tab pos="1729994" algn="l"/>
                <a:tab pos="3235960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5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рядо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егламентирующих</a:t>
            </a:r>
          </a:p>
          <a:p>
            <a:pPr>
              <a:lnSpc>
                <a:spcPts val="2058"/>
              </a:lnSpc>
              <a:tabLst>
                <a:tab pos="1082802" algn="l"/>
                <a:tab pos="1729994" algn="l"/>
                <a:tab pos="3235960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документов</a:t>
            </a:r>
          </a:p>
          <a:p>
            <a:pPr>
              <a:lnSpc>
                <a:spcPts val="2842"/>
              </a:lnSpc>
              <a:tabLst>
                <a:tab pos="1082802" algn="l"/>
                <a:tab pos="1729994" algn="l"/>
                <a:tab pos="3235960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лжност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нструкц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руководители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пециалисты,</a:t>
            </a:r>
          </a:p>
          <a:p>
            <a:pPr>
              <a:lnSpc>
                <a:spcPts val="2058"/>
              </a:lnSpc>
              <a:tabLst>
                <a:tab pos="1082802" algn="l"/>
                <a:tab pos="1729994" algn="l"/>
                <a:tab pos="3235960" algn="l"/>
              </a:tabLst>
            </a:pPr>
            <a:r>
              <a:rPr lang="en-US" altLang="zh-CN" dirty="0" smtClean="0"/>
              <a:t>		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лужащие)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254"/>
              </a:lnSpc>
              <a:tabLst>
                <a:tab pos="1082802" algn="l"/>
                <a:tab pos="1729994" algn="l"/>
                <a:tab pos="3235960" algn="l"/>
              </a:tabLst>
            </a:pPr>
            <a:r>
              <a:rPr lang="en-US" altLang="zh-CN" dirty="0" smtClean="0"/>
              <a:t>	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держа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рекомендац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едущему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ыту)</a:t>
            </a:r>
          </a:p>
        </p:txBody>
      </p:sp>
    </p:spTree>
    <p:extLst>
      <p:ext uri="{BB962C8B-B14F-4D97-AF65-F5344CB8AC3E}">
        <p14:creationId xmlns:p14="http://schemas.microsoft.com/office/powerpoint/2010/main" val="1636071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269613"/>
            <a:ext cx="7416436" cy="4144286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33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1194858" y="1916865"/>
            <a:ext cx="134652" cy="19913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176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1530912" y="1891971"/>
            <a:ext cx="1317027" cy="23760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47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жотраслевые</a:t>
            </a:r>
          </a:p>
        </p:txBody>
      </p:sp>
      <p:sp>
        <p:nvSpPr>
          <p:cNvPr id="11" name="TextBox 1"/>
          <p:cNvSpPr txBox="1"/>
          <p:nvPr/>
        </p:nvSpPr>
        <p:spPr>
          <a:xfrm>
            <a:off x="1194858" y="2215598"/>
            <a:ext cx="6646400" cy="3905275"/>
          </a:xfrm>
          <a:prstGeom prst="rect">
            <a:avLst/>
          </a:prstGeom>
          <a:noFill/>
        </p:spPr>
        <p:txBody>
          <a:bodyPr wrap="square" lIns="0" tIns="0" rIns="0" bIns="44806" rtlCol="0">
            <a:spAutoFit/>
          </a:bodyPr>
          <a:lstStyle/>
          <a:p>
            <a:pPr>
              <a:lnSpc>
                <a:spcPts val="1274"/>
              </a:lnSpc>
              <a:tabLst>
                <a:tab pos="336042" algn="l"/>
              </a:tabLst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атываю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льны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о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нительн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ласти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ы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урирует</a:t>
            </a:r>
          </a:p>
          <a:p>
            <a:pPr>
              <a:lnSpc>
                <a:spcPts val="1372"/>
              </a:lnSpc>
              <a:tabLst>
                <a:tab pos="336042" algn="l"/>
              </a:tabLst>
            </a:pPr>
            <a:r>
              <a:rPr lang="en-US" altLang="zh-CN" sz="1400" dirty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жотраслев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ноше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ласт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Министерств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циальной</a:t>
            </a:r>
          </a:p>
          <a:p>
            <a:pPr>
              <a:lnSpc>
                <a:spcPts val="1372"/>
              </a:lnSpc>
              <a:tabLst>
                <a:tab pos="336042" algn="l"/>
              </a:tabLst>
            </a:pPr>
            <a:r>
              <a:rPr lang="en-US" altLang="zh-CN" sz="1400" dirty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щит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оссийск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ции).</a:t>
            </a:r>
          </a:p>
          <a:p>
            <a:pPr>
              <a:lnSpc>
                <a:spcPts val="1666"/>
              </a:lnSpc>
              <a:tabLst>
                <a:tab pos="336042" algn="l"/>
              </a:tabLst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ае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льны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нительн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ласти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ы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урирует</a:t>
            </a:r>
          </a:p>
          <a:p>
            <a:pPr>
              <a:lnSpc>
                <a:spcPts val="1372"/>
              </a:lnSpc>
              <a:tabLst>
                <a:tab pos="336042" algn="l"/>
              </a:tabLst>
            </a:pPr>
            <a:r>
              <a:rPr lang="en-US" altLang="zh-CN" sz="1400" dirty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жотраслев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ноше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ласт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Министерств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циальной</a:t>
            </a:r>
          </a:p>
          <a:p>
            <a:pPr>
              <a:lnSpc>
                <a:spcPts val="1372"/>
              </a:lnSpc>
              <a:tabLst>
                <a:tab pos="336042" algn="l"/>
              </a:tabLst>
            </a:pPr>
            <a:r>
              <a:rPr lang="en-US" altLang="zh-CN" sz="1400" dirty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щит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оссийск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ции).</a:t>
            </a:r>
          </a:p>
          <a:p>
            <a:pPr>
              <a:lnSpc>
                <a:spcPts val="1960"/>
              </a:lnSpc>
              <a:tabLst>
                <a:tab pos="336042" algn="l"/>
              </a:tabLst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.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е</a:t>
            </a:r>
          </a:p>
          <a:p>
            <a:pPr>
              <a:lnSpc>
                <a:spcPts val="1666"/>
              </a:lnSpc>
              <a:tabLst>
                <a:tab pos="336042" algn="l"/>
              </a:tabLst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атываю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льны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о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нительн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ласти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ы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урирует</a:t>
            </a:r>
          </a:p>
          <a:p>
            <a:pPr>
              <a:lnSpc>
                <a:spcPts val="1372"/>
              </a:lnSpc>
              <a:tabLst>
                <a:tab pos="336042" algn="l"/>
              </a:tabLst>
            </a:pPr>
            <a:r>
              <a:rPr lang="en-US" altLang="zh-CN" sz="1400" dirty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ь.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гласовываю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инистерство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циальной</a:t>
            </a:r>
          </a:p>
          <a:p>
            <a:pPr>
              <a:lnSpc>
                <a:spcPts val="1372"/>
              </a:lnSpc>
              <a:tabLst>
                <a:tab pos="336042" algn="l"/>
              </a:tabLst>
            </a:pPr>
            <a:r>
              <a:rPr lang="en-US" altLang="zh-CN" sz="1400" dirty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щит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оссийск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ции.</a:t>
            </a:r>
          </a:p>
          <a:p>
            <a:pPr>
              <a:lnSpc>
                <a:spcPts val="1666"/>
              </a:lnSpc>
              <a:tabLst>
                <a:tab pos="336042" algn="l"/>
              </a:tabLst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ае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льны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нительн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ласти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ы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урируе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ь</a:t>
            </a:r>
          </a:p>
          <a:p>
            <a:pPr>
              <a:lnSpc>
                <a:spcPts val="1372"/>
              </a:lnSpc>
              <a:tabLst>
                <a:tab pos="336042" algn="l"/>
              </a:tabLst>
            </a:pPr>
            <a:r>
              <a:rPr lang="en-US" altLang="zh-CN" sz="1400" dirty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сл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луче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гласова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ин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осс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подведомств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ГБУ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«Н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СС»</a:t>
            </a:r>
          </a:p>
          <a:p>
            <a:pPr>
              <a:lnSpc>
                <a:spcPts val="1568"/>
              </a:lnSpc>
              <a:tabLst>
                <a:tab pos="336042" algn="l"/>
              </a:tabLst>
            </a:pPr>
            <a:r>
              <a:rPr lang="en-US" altLang="zh-CN" sz="1400" dirty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ин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оссии).</a:t>
            </a:r>
          </a:p>
        </p:txBody>
      </p:sp>
      <p:sp>
        <p:nvSpPr>
          <p:cNvPr id="12" name="TextBox 1"/>
          <p:cNvSpPr txBox="1"/>
          <p:nvPr/>
        </p:nvSpPr>
        <p:spPr>
          <a:xfrm>
            <a:off x="609876" y="535229"/>
            <a:ext cx="3339697" cy="57102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5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рядо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согласования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егламентирующи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документов</a:t>
            </a:r>
          </a:p>
        </p:txBody>
      </p:sp>
    </p:spTree>
    <p:extLst>
      <p:ext uri="{BB962C8B-B14F-4D97-AF65-F5344CB8AC3E}">
        <p14:creationId xmlns:p14="http://schemas.microsoft.com/office/powerpoint/2010/main" val="482909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269613"/>
            <a:ext cx="7416436" cy="4144286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34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1194858" y="1991548"/>
            <a:ext cx="7207294" cy="3238425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470"/>
              </a:lnSpc>
              <a:tabLst>
                <a:tab pos="336042" algn="l"/>
              </a:tabLst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окальные</a:t>
            </a:r>
          </a:p>
          <a:p>
            <a:pPr>
              <a:lnSpc>
                <a:spcPts val="1666"/>
              </a:lnSpc>
              <a:tabLst>
                <a:tab pos="336042" algn="l"/>
              </a:tabLst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атываю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ям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ето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х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жотраслев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</a:p>
          <a:p>
            <a:pPr>
              <a:lnSpc>
                <a:spcPts val="1372"/>
              </a:lnSpc>
              <a:tabLst>
                <a:tab pos="336042" algn="l"/>
              </a:tabLst>
            </a:pPr>
            <a:r>
              <a:rPr lang="en-US" altLang="zh-CN" sz="1400" dirty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.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окальн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авливаю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иж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.</a:t>
            </a:r>
          </a:p>
          <a:p>
            <a:pPr>
              <a:lnSpc>
                <a:spcPts val="1666"/>
              </a:lnSpc>
              <a:tabLst>
                <a:tab pos="336042" algn="l"/>
              </a:tabLst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окальн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ровн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прияти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гласую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</a:p>
          <a:p>
            <a:pPr>
              <a:lnSpc>
                <a:spcPts val="1372"/>
              </a:lnSpc>
              <a:tabLst>
                <a:tab pos="336042" algn="l"/>
              </a:tabLst>
            </a:pPr>
            <a:r>
              <a:rPr lang="en-US" altLang="zh-CN" sz="1400" dirty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интересованным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дразделениями.</a:t>
            </a:r>
          </a:p>
          <a:p>
            <a:pPr>
              <a:lnSpc>
                <a:spcPts val="1666"/>
              </a:lnSpc>
              <a:tabLst>
                <a:tab pos="336042" algn="l"/>
              </a:tabLst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ае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нительны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прият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л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гласн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ва.</a:t>
            </a:r>
          </a:p>
          <a:p>
            <a:pPr>
              <a:lnSpc>
                <a:spcPts val="1666"/>
              </a:lnSpc>
              <a:tabLst>
                <a:tab pos="336042" algn="l"/>
              </a:tabLst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во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ейств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ебуе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е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не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ставительно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ов.</a:t>
            </a:r>
          </a:p>
          <a:p>
            <a:pPr>
              <a:lnSpc>
                <a:spcPts val="1666"/>
              </a:lnSpc>
              <a:tabLst>
                <a:tab pos="336042" algn="l"/>
              </a:tabLst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ложительн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ценк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окальн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аю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гласн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цедуры</a:t>
            </a:r>
          </a:p>
          <a:p>
            <a:pPr>
              <a:lnSpc>
                <a:spcPts val="1372"/>
              </a:lnSpc>
              <a:tabLst>
                <a:tab pos="336042" algn="l"/>
              </a:tabLst>
            </a:pPr>
            <a:r>
              <a:rPr lang="en-US" altLang="zh-CN" sz="1400" dirty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ия.</a:t>
            </a:r>
          </a:p>
          <a:p>
            <a:pPr>
              <a:lnSpc>
                <a:spcPts val="1666"/>
              </a:lnSpc>
              <a:tabLst>
                <a:tab pos="336042" algn="l"/>
              </a:tabLst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ицательн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ценк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ставительно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о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ак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же</a:t>
            </a:r>
          </a:p>
          <a:p>
            <a:pPr>
              <a:lnSpc>
                <a:spcPts val="1372"/>
              </a:lnSpc>
              <a:tabLst>
                <a:tab pos="336042" algn="l"/>
              </a:tabLst>
            </a:pPr>
            <a:r>
              <a:rPr lang="en-US" altLang="zh-CN" sz="1400" dirty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огу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ыть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одателем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о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ставительны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</a:t>
            </a:r>
          </a:p>
          <a:p>
            <a:pPr>
              <a:lnSpc>
                <a:spcPts val="1372"/>
              </a:lnSpc>
              <a:tabLst>
                <a:tab pos="336042" algn="l"/>
              </a:tabLst>
            </a:pPr>
            <a:r>
              <a:rPr lang="en-US" altLang="zh-CN" sz="1400" dirty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о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мее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ав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ротестовывать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веде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ейств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удебно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рядке.</a:t>
            </a:r>
          </a:p>
          <a:p>
            <a:pPr>
              <a:lnSpc>
                <a:spcPts val="1666"/>
              </a:lnSpc>
              <a:tabLst>
                <a:tab pos="336042" algn="l"/>
              </a:tabLst>
            </a:pP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ровн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огу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ействовать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ольк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окальн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,</a:t>
            </a:r>
          </a:p>
          <a:p>
            <a:pPr>
              <a:lnSpc>
                <a:spcPts val="1372"/>
              </a:lnSpc>
              <a:tabLst>
                <a:tab pos="336042" algn="l"/>
              </a:tabLst>
            </a:pPr>
            <a:r>
              <a:rPr lang="en-US" altLang="zh-CN" sz="1400" dirty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н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веденн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ейств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гласн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но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рядка.</a:t>
            </a:r>
          </a:p>
          <a:p>
            <a:pPr>
              <a:lnSpc>
                <a:spcPts val="1666"/>
              </a:lnSpc>
              <a:tabLst>
                <a:tab pos="336042" algn="l"/>
              </a:tabLst>
            </a:pP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с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жотраслев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огу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ыть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олько</a:t>
            </a:r>
          </a:p>
          <a:p>
            <a:pPr>
              <a:lnSpc>
                <a:spcPts val="1372"/>
              </a:lnSpc>
              <a:tabLst>
                <a:tab pos="336042" algn="l"/>
              </a:tabLst>
            </a:pPr>
            <a:r>
              <a:rPr lang="en-US" altLang="zh-CN" sz="1400" dirty="0"/>
              <a:t>	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ационным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являть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иентирам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окальных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535229"/>
            <a:ext cx="3339697" cy="57102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5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рядо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согласования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егламентирующи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документов</a:t>
            </a:r>
          </a:p>
        </p:txBody>
      </p:sp>
    </p:spTree>
    <p:extLst>
      <p:ext uri="{BB962C8B-B14F-4D97-AF65-F5344CB8AC3E}">
        <p14:creationId xmlns:p14="http://schemas.microsoft.com/office/powerpoint/2010/main" val="3390440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47643" y="410757"/>
            <a:ext cx="8164866" cy="372034"/>
          </a:xfrm>
          <a:prstGeom prst="rect">
            <a:avLst/>
          </a:prstGeom>
          <a:noFill/>
        </p:spPr>
        <p:txBody>
          <a:bodyPr wrap="square" lIns="0" tIns="0" rIns="0" bIns="44806" rtlCol="0">
            <a:spAutoFit/>
          </a:bodyPr>
          <a:lstStyle/>
          <a:p>
            <a:pPr>
              <a:lnSpc>
                <a:spcPts val="2548"/>
              </a:lnSpc>
            </a:pPr>
            <a:r>
              <a:rPr lang="en-US" altLang="zh-CN" sz="2400" dirty="0">
                <a:solidFill>
                  <a:srgbClr val="3399FF"/>
                </a:solidFill>
                <a:latin typeface="Times New Roman" pitchFamily="18" charset="0"/>
                <a:cs typeface="Times New Roman" pitchFamily="18" charset="0"/>
              </a:rPr>
              <a:t>Модуль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3399FF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0066CC"/>
                </a:solidFill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en-US" altLang="zh-CN" sz="2400" dirty="0" err="1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Приказ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 err="1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Минтруда</a:t>
            </a:r>
            <a:r>
              <a:rPr lang="ru-RU" altLang="zh-CN" sz="2400" dirty="0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 err="1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России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№</a:t>
            </a:r>
            <a:r>
              <a:rPr lang="ru-RU" altLang="zh-CN" sz="2400" dirty="0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235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31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мая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2013г</a:t>
            </a:r>
          </a:p>
        </p:txBody>
      </p:sp>
      <p:sp>
        <p:nvSpPr>
          <p:cNvPr id="8" name="TextBox 1"/>
          <p:cNvSpPr txBox="1"/>
          <p:nvPr/>
        </p:nvSpPr>
        <p:spPr>
          <a:xfrm>
            <a:off x="535197" y="1979101"/>
            <a:ext cx="6648615" cy="2020143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2156"/>
              </a:lnSpc>
              <a:tabLst>
                <a:tab pos="448056" algn="l"/>
              </a:tabLst>
            </a:pP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.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ание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каза</a:t>
            </a:r>
          </a:p>
          <a:p>
            <a:pPr>
              <a:lnSpc>
                <a:spcPts val="2744"/>
              </a:lnSpc>
              <a:tabLst>
                <a:tab pos="448056" algn="l"/>
              </a:tabLst>
            </a:pP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.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ные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ложения</a:t>
            </a:r>
          </a:p>
          <a:p>
            <a:pPr>
              <a:lnSpc>
                <a:spcPts val="2744"/>
              </a:lnSpc>
              <a:tabLst>
                <a:tab pos="448056" algn="l"/>
              </a:tabLst>
            </a:pP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а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</a:p>
          <a:p>
            <a:pPr>
              <a:lnSpc>
                <a:spcPts val="2352"/>
              </a:lnSpc>
              <a:tabLst>
                <a:tab pos="448056" algn="l"/>
              </a:tabLst>
            </a:pPr>
            <a:r>
              <a:rPr lang="en-US" altLang="zh-CN" dirty="0" smtClean="0"/>
              <a:t>	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е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оказание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уг)</a:t>
            </a:r>
          </a:p>
          <a:p>
            <a:pPr>
              <a:lnSpc>
                <a:spcPts val="2744"/>
              </a:lnSpc>
              <a:tabLst>
                <a:tab pos="448056" algn="l"/>
              </a:tabLst>
            </a:pP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4.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а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</a:p>
          <a:p>
            <a:pPr>
              <a:lnSpc>
                <a:spcPts val="2744"/>
              </a:lnSpc>
              <a:tabLst>
                <a:tab pos="448056" algn="l"/>
              </a:tabLst>
            </a:pP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5.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а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служивания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35</a:t>
            </a:r>
          </a:p>
        </p:txBody>
      </p:sp>
    </p:spTree>
    <p:extLst>
      <p:ext uri="{BB962C8B-B14F-4D97-AF65-F5344CB8AC3E}">
        <p14:creationId xmlns:p14="http://schemas.microsoft.com/office/powerpoint/2010/main" val="1472804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36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1194858" y="1966654"/>
            <a:ext cx="5933997" cy="2289448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470"/>
              </a:lnSpc>
              <a:tabLst>
                <a:tab pos="336042" algn="l"/>
              </a:tabLst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тодическ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ац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льн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о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нительной</a:t>
            </a:r>
          </a:p>
          <a:p>
            <a:pPr>
              <a:lnSpc>
                <a:spcPts val="1568"/>
              </a:lnSpc>
              <a:tabLst>
                <a:tab pos="336042" algn="l"/>
              </a:tabLst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ласт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960"/>
              </a:lnSpc>
              <a:tabLst>
                <a:tab pos="336042" algn="l"/>
              </a:tabLst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казо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ин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осс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№</a:t>
            </a:r>
            <a:r>
              <a:rPr lang="ru-RU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35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1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а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013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да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960"/>
              </a:lnSpc>
              <a:tabLst>
                <a:tab pos="336042" algn="l"/>
              </a:tabLst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ответств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ункто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ложе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№</a:t>
            </a:r>
            <a:r>
              <a:rPr lang="ru-RU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грамм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этапного</a:t>
            </a:r>
          </a:p>
          <a:p>
            <a:pPr>
              <a:lnSpc>
                <a:spcPts val="1568"/>
              </a:lnSpc>
              <a:tabLst>
                <a:tab pos="336042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вершенствова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истем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лат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сударственных</a:t>
            </a:r>
          </a:p>
          <a:p>
            <a:pPr>
              <a:lnSpc>
                <a:spcPts val="1568"/>
              </a:lnSpc>
              <a:tabLst>
                <a:tab pos="336042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муниципальных)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я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012-2018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да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ной</a:t>
            </a:r>
          </a:p>
          <a:p>
            <a:pPr>
              <a:lnSpc>
                <a:spcPts val="1568"/>
              </a:lnSpc>
              <a:tabLst>
                <a:tab pos="336042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споряжение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авительств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оссийск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ц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6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ября</a:t>
            </a:r>
          </a:p>
          <a:p>
            <a:pPr>
              <a:lnSpc>
                <a:spcPts val="1568"/>
              </a:lnSpc>
              <a:tabLst>
                <a:tab pos="336042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012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№</a:t>
            </a:r>
            <a:r>
              <a:rPr lang="ru-RU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190-р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5" y="522781"/>
            <a:ext cx="2316724" cy="30172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1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снова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риказа</a:t>
            </a:r>
          </a:p>
        </p:txBody>
      </p:sp>
    </p:spTree>
    <p:extLst>
      <p:ext uri="{BB962C8B-B14F-4D97-AF65-F5344CB8AC3E}">
        <p14:creationId xmlns:p14="http://schemas.microsoft.com/office/powerpoint/2010/main" val="3410489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37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1194858" y="1991548"/>
            <a:ext cx="134652" cy="221250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176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.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666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.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96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1530912" y="1979101"/>
            <a:ext cx="5852564" cy="280240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47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АТЫВАЮТСЯ,</a:t>
            </a:r>
          </a:p>
          <a:p>
            <a:pPr>
              <a:lnSpc>
                <a:spcPts val="1568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АТРИВАЮ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АЮ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4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льны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о</a:t>
            </a:r>
            <a:r>
              <a:rPr lang="ru-RU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</a:t>
            </a:r>
            <a:endParaRPr lang="en-US" altLang="zh-CN" sz="1400" dirty="0">
              <a:solidFill>
                <a:srgbClr val="323937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ts val="1568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нительн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ласти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ы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озложен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правление,</a:t>
            </a:r>
          </a:p>
          <a:p>
            <a:pPr>
              <a:lnSpc>
                <a:spcPts val="1568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гулирова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ординац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еятельност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подоторасли)</a:t>
            </a:r>
          </a:p>
          <a:p>
            <a:pPr>
              <a:lnSpc>
                <a:spcPts val="1568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кономики.</a:t>
            </a:r>
          </a:p>
          <a:p>
            <a:pPr>
              <a:lnSpc>
                <a:spcPts val="196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аю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пять)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ет.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</a:p>
          <a:p>
            <a:pPr>
              <a:lnSpc>
                <a:spcPts val="1568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течению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е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ат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н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лжн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ыть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отрены,</a:t>
            </a:r>
          </a:p>
          <a:p>
            <a:pPr>
              <a:lnSpc>
                <a:spcPts val="1568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акж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атриваю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зменен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</a:p>
          <a:p>
            <a:pPr>
              <a:lnSpc>
                <a:spcPts val="1568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недрен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в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ик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ологии.</a:t>
            </a:r>
          </a:p>
          <a:p>
            <a:pPr>
              <a:lnSpc>
                <a:spcPts val="196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авливаю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днородные</a:t>
            </a:r>
          </a:p>
          <a:p>
            <a:pPr>
              <a:lnSpc>
                <a:spcPts val="1568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менительн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ологически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трудовым)</a:t>
            </a:r>
          </a:p>
          <a:p>
            <a:pPr>
              <a:lnSpc>
                <a:spcPts val="1568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цесса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онно-технически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я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х</a:t>
            </a:r>
          </a:p>
          <a:p>
            <a:pPr>
              <a:lnSpc>
                <a:spcPts val="1568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ответствующе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и.</a:t>
            </a:r>
          </a:p>
        </p:txBody>
      </p:sp>
      <p:sp>
        <p:nvSpPr>
          <p:cNvPr id="11" name="TextBox 1"/>
          <p:cNvSpPr txBox="1"/>
          <p:nvPr/>
        </p:nvSpPr>
        <p:spPr>
          <a:xfrm>
            <a:off x="609876" y="522781"/>
            <a:ext cx="2495940" cy="30172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2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снов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ложения</a:t>
            </a:r>
          </a:p>
        </p:txBody>
      </p:sp>
    </p:spTree>
    <p:extLst>
      <p:ext uri="{BB962C8B-B14F-4D97-AF65-F5344CB8AC3E}">
        <p14:creationId xmlns:p14="http://schemas.microsoft.com/office/powerpoint/2010/main" val="1145476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38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1194858" y="1954206"/>
            <a:ext cx="6259791" cy="2084263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470"/>
              </a:lnSpc>
              <a:tabLst>
                <a:tab pos="336042" algn="l"/>
              </a:tabLst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4.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атываю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е</a:t>
            </a:r>
          </a:p>
          <a:p>
            <a:pPr>
              <a:lnSpc>
                <a:spcPts val="1568"/>
              </a:lnSpc>
              <a:tabLst>
                <a:tab pos="336042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налитически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тодо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ето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ических,</a:t>
            </a:r>
          </a:p>
          <a:p>
            <a:pPr>
              <a:lnSpc>
                <a:spcPts val="1568"/>
              </a:lnSpc>
              <a:tabLst>
                <a:tab pos="336042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онных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анитарно-гигиенических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циальных,</a:t>
            </a:r>
          </a:p>
          <a:p>
            <a:pPr>
              <a:lnSpc>
                <a:spcPts val="1568"/>
              </a:lnSpc>
              <a:tabLst>
                <a:tab pos="336042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сихофизиологических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авов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акторов.</a:t>
            </a:r>
          </a:p>
          <a:p>
            <a:pPr>
              <a:lnSpc>
                <a:spcPts val="1960"/>
              </a:lnSpc>
              <a:tabLst>
                <a:tab pos="336042" algn="l"/>
              </a:tabLst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5.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атывать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1568"/>
              </a:lnSpc>
              <a:tabLst>
                <a:tab pos="336042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ключающие:</a:t>
            </a:r>
          </a:p>
          <a:p>
            <a:pPr>
              <a:lnSpc>
                <a:spcPts val="1960"/>
              </a:lnSpc>
              <a:tabLst>
                <a:tab pos="336042" algn="l"/>
              </a:tabLst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оказа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уг);</a:t>
            </a:r>
          </a:p>
          <a:p>
            <a:pPr>
              <a:lnSpc>
                <a:spcPts val="1960"/>
              </a:lnSpc>
              <a:tabLst>
                <a:tab pos="336042" algn="l"/>
              </a:tabLst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исленности;</a:t>
            </a:r>
          </a:p>
          <a:p>
            <a:pPr>
              <a:lnSpc>
                <a:spcPts val="1960"/>
              </a:lnSpc>
              <a:tabLst>
                <a:tab pos="336042" algn="l"/>
              </a:tabLst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служивания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522781"/>
            <a:ext cx="2495940" cy="30172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2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снов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ложения</a:t>
            </a:r>
          </a:p>
        </p:txBody>
      </p:sp>
    </p:spTree>
    <p:extLst>
      <p:ext uri="{BB962C8B-B14F-4D97-AF65-F5344CB8AC3E}">
        <p14:creationId xmlns:p14="http://schemas.microsoft.com/office/powerpoint/2010/main" val="3522912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39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1194858" y="1891971"/>
            <a:ext cx="4187813" cy="23760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47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лан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: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1194858" y="2277833"/>
            <a:ext cx="134652" cy="3071713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176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.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568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.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568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.</a:t>
            </a:r>
          </a:p>
          <a:p>
            <a:pPr>
              <a:lnSpc>
                <a:spcPts val="196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4.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568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5.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568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6.</a:t>
            </a:r>
          </a:p>
          <a:p>
            <a:pPr>
              <a:lnSpc>
                <a:spcPts val="196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7.</a:t>
            </a:r>
          </a:p>
          <a:p>
            <a:pPr>
              <a:lnSpc>
                <a:spcPts val="196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8.</a:t>
            </a:r>
          </a:p>
          <a:p>
            <a:pPr>
              <a:lnSpc>
                <a:spcPts val="196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9.</a:t>
            </a:r>
          </a:p>
        </p:txBody>
      </p:sp>
      <p:sp>
        <p:nvSpPr>
          <p:cNvPr id="11" name="TextBox 1"/>
          <p:cNvSpPr txBox="1"/>
          <p:nvPr/>
        </p:nvSpPr>
        <p:spPr>
          <a:xfrm>
            <a:off x="1530912" y="2240492"/>
            <a:ext cx="5892254" cy="3110185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47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явле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требност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в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отр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ействующих</a:t>
            </a:r>
          </a:p>
          <a:p>
            <a:pPr>
              <a:lnSpc>
                <a:spcPts val="1568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;</a:t>
            </a:r>
          </a:p>
          <a:p>
            <a:pPr>
              <a:lnSpc>
                <a:spcPts val="196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становк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дач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ида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исание</a:t>
            </a:r>
          </a:p>
          <a:p>
            <a:pPr>
              <a:lnSpc>
                <a:spcPts val="1568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ическо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да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у;</a:t>
            </a:r>
          </a:p>
          <a:p>
            <a:pPr>
              <a:lnSpc>
                <a:spcPts val="196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бор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и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с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еде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блюдений;</a:t>
            </a:r>
          </a:p>
          <a:p>
            <a:pPr>
              <a:lnSpc>
                <a:spcPts val="196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бор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ходн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нформации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зуче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онно-технических</a:t>
            </a:r>
          </a:p>
          <a:p>
            <a:pPr>
              <a:lnSpc>
                <a:spcPts val="1568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тодо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и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стах;</a:t>
            </a:r>
          </a:p>
          <a:p>
            <a:pPr>
              <a:lnSpc>
                <a:spcPts val="196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еде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дельн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меро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выборочно)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их</a:t>
            </a:r>
          </a:p>
          <a:p>
            <a:pPr>
              <a:lnSpc>
                <a:spcPts val="1568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стах;</a:t>
            </a:r>
          </a:p>
          <a:p>
            <a:pPr>
              <a:lnSpc>
                <a:spcPts val="196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нализ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акторов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лияющи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еличину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тра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;</a:t>
            </a:r>
          </a:p>
          <a:p>
            <a:pPr>
              <a:lnSpc>
                <a:spcPts val="196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иса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ционально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ово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цесса;</a:t>
            </a:r>
          </a:p>
          <a:p>
            <a:pPr>
              <a:lnSpc>
                <a:spcPts val="196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зуче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змере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тра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;</a:t>
            </a:r>
          </a:p>
          <a:p>
            <a:pPr>
              <a:lnSpc>
                <a:spcPts val="196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работк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ормализац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зультато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змерений;</a:t>
            </a:r>
          </a:p>
        </p:txBody>
      </p:sp>
      <p:sp>
        <p:nvSpPr>
          <p:cNvPr id="12" name="TextBox 1"/>
          <p:cNvSpPr txBox="1"/>
          <p:nvPr/>
        </p:nvSpPr>
        <p:spPr>
          <a:xfrm>
            <a:off x="1194858" y="5240261"/>
            <a:ext cx="3564309" cy="23760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47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0.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пробация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гласование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ие.</a:t>
            </a:r>
          </a:p>
        </p:txBody>
      </p:sp>
      <p:sp>
        <p:nvSpPr>
          <p:cNvPr id="13" name="TextBox 1"/>
          <p:cNvSpPr txBox="1"/>
          <p:nvPr/>
        </p:nvSpPr>
        <p:spPr>
          <a:xfrm>
            <a:off x="609876" y="522781"/>
            <a:ext cx="2495940" cy="30172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2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снов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ложения</a:t>
            </a:r>
          </a:p>
        </p:txBody>
      </p:sp>
    </p:spTree>
    <p:extLst>
      <p:ext uri="{BB962C8B-B14F-4D97-AF65-F5344CB8AC3E}">
        <p14:creationId xmlns:p14="http://schemas.microsoft.com/office/powerpoint/2010/main" val="162162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40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1194858" y="3099347"/>
            <a:ext cx="59312" cy="4556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176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</a:p>
          <a:p>
            <a:pPr>
              <a:lnSpc>
                <a:spcPts val="1960"/>
              </a:lnSpc>
            </a:pP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1530912" y="3086900"/>
            <a:ext cx="6806030" cy="904453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470"/>
              </a:lnSpc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лич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асс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вторяем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;</a:t>
            </a:r>
          </a:p>
          <a:p>
            <a:pPr>
              <a:lnSpc>
                <a:spcPts val="1960"/>
              </a:lnSpc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ьзова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циональ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цессов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ответствующих</a:t>
            </a:r>
          </a:p>
          <a:p>
            <a:pPr>
              <a:lnSpc>
                <a:spcPts val="1568"/>
              </a:lnSpc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временному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ровню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и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ологи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изводства,</a:t>
            </a:r>
          </a:p>
          <a:p>
            <a:pPr>
              <a:lnSpc>
                <a:spcPts val="1568"/>
              </a:lnSpc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правления.</a:t>
            </a:r>
          </a:p>
        </p:txBody>
      </p:sp>
      <p:sp>
        <p:nvSpPr>
          <p:cNvPr id="11" name="TextBox 1"/>
          <p:cNvSpPr txBox="1"/>
          <p:nvPr/>
        </p:nvSpPr>
        <p:spPr>
          <a:xfrm>
            <a:off x="609876" y="597465"/>
            <a:ext cx="7662226" cy="255875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92100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</a:p>
          <a:p>
            <a:pPr>
              <a:lnSpc>
                <a:spcPts val="2058"/>
              </a:lnSpc>
              <a:tabLst>
                <a:tab pos="584962" algn="l"/>
                <a:tab pos="92100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ыполн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(оказание</a:t>
            </a:r>
          </a:p>
          <a:p>
            <a:pPr>
              <a:lnSpc>
                <a:spcPts val="2058"/>
              </a:lnSpc>
              <a:tabLst>
                <a:tab pos="584962" algn="l"/>
                <a:tab pos="92100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слуг)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156"/>
              </a:lnSpc>
              <a:tabLst>
                <a:tab pos="584962" algn="l"/>
                <a:tab pos="921004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: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1960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ределе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инимально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личеств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й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азе</a:t>
            </a:r>
          </a:p>
          <a:p>
            <a:pPr>
              <a:lnSpc>
                <a:spcPts val="1568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ланируе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одит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след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аждому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иду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</a:p>
          <a:p>
            <a:pPr>
              <a:lnSpc>
                <a:spcPts val="1568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ето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ледующи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ритериев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91317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3"/>
          <p:cNvSpPr/>
          <p:nvPr/>
        </p:nvSpPr>
        <p:spPr>
          <a:xfrm>
            <a:off x="528974" y="1107799"/>
            <a:ext cx="7973564" cy="4723701"/>
          </a:xfrm>
          <a:custGeom>
            <a:avLst/>
            <a:gdLst>
              <a:gd name="connsiteX0" fmla="*/ 0 w 8136001"/>
              <a:gd name="connsiteY0" fmla="*/ 804037 h 4824348"/>
              <a:gd name="connsiteX1" fmla="*/ 804036 w 8136001"/>
              <a:gd name="connsiteY1" fmla="*/ 0 h 4824348"/>
              <a:gd name="connsiteX2" fmla="*/ 804036 w 8136001"/>
              <a:gd name="connsiteY2" fmla="*/ 0 h 4824348"/>
              <a:gd name="connsiteX3" fmla="*/ 804036 w 8136001"/>
              <a:gd name="connsiteY3" fmla="*/ 0 h 4824348"/>
              <a:gd name="connsiteX4" fmla="*/ 7331836 w 8136001"/>
              <a:gd name="connsiteY4" fmla="*/ 0 h 4824348"/>
              <a:gd name="connsiteX5" fmla="*/ 7331836 w 8136001"/>
              <a:gd name="connsiteY5" fmla="*/ 0 h 4824348"/>
              <a:gd name="connsiteX6" fmla="*/ 8135873 w 8136001"/>
              <a:gd name="connsiteY6" fmla="*/ 804037 h 4824348"/>
              <a:gd name="connsiteX7" fmla="*/ 8135873 w 8136001"/>
              <a:gd name="connsiteY7" fmla="*/ 804037 h 4824348"/>
              <a:gd name="connsiteX8" fmla="*/ 8135873 w 8136001"/>
              <a:gd name="connsiteY8" fmla="*/ 804037 h 4824348"/>
              <a:gd name="connsiteX9" fmla="*/ 8136001 w 8136001"/>
              <a:gd name="connsiteY9" fmla="*/ 4020312 h 4824348"/>
              <a:gd name="connsiteX10" fmla="*/ 8136001 w 8136001"/>
              <a:gd name="connsiteY10" fmla="*/ 4020312 h 4824348"/>
              <a:gd name="connsiteX11" fmla="*/ 7331836 w 8136001"/>
              <a:gd name="connsiteY11" fmla="*/ 4824349 h 4824348"/>
              <a:gd name="connsiteX12" fmla="*/ 7331836 w 8136001"/>
              <a:gd name="connsiteY12" fmla="*/ 4824349 h 4824348"/>
              <a:gd name="connsiteX13" fmla="*/ 7331836 w 8136001"/>
              <a:gd name="connsiteY13" fmla="*/ 4824349 h 4824348"/>
              <a:gd name="connsiteX14" fmla="*/ 804036 w 8136001"/>
              <a:gd name="connsiteY14" fmla="*/ 4824349 h 4824348"/>
              <a:gd name="connsiteX15" fmla="*/ 804036 w 8136001"/>
              <a:gd name="connsiteY15" fmla="*/ 4824349 h 4824348"/>
              <a:gd name="connsiteX16" fmla="*/ 0 w 8136001"/>
              <a:gd name="connsiteY16" fmla="*/ 4020312 h 4824348"/>
              <a:gd name="connsiteX17" fmla="*/ 0 w 8136001"/>
              <a:gd name="connsiteY17" fmla="*/ 4020312 h 4824348"/>
              <a:gd name="connsiteX18" fmla="*/ 0 w 8136001"/>
              <a:gd name="connsiteY18" fmla="*/ 804037 h 482434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8136001" h="4824348">
                <a:moveTo>
                  <a:pt x="0" y="804037"/>
                </a:moveTo>
                <a:cubicBezTo>
                  <a:pt x="0" y="359918"/>
                  <a:pt x="360006" y="0"/>
                  <a:pt x="804036" y="0"/>
                </a:cubicBezTo>
                <a:cubicBezTo>
                  <a:pt x="804036" y="0"/>
                  <a:pt x="804036" y="0"/>
                  <a:pt x="804036" y="0"/>
                </a:cubicBezTo>
                <a:lnTo>
                  <a:pt x="804036" y="0"/>
                </a:lnTo>
                <a:lnTo>
                  <a:pt x="7331836" y="0"/>
                </a:lnTo>
                <a:lnTo>
                  <a:pt x="7331836" y="0"/>
                </a:lnTo>
                <a:cubicBezTo>
                  <a:pt x="7775956" y="0"/>
                  <a:pt x="8135873" y="359918"/>
                  <a:pt x="8135873" y="804037"/>
                </a:cubicBezTo>
                <a:cubicBezTo>
                  <a:pt x="8135873" y="804037"/>
                  <a:pt x="8135873" y="804037"/>
                  <a:pt x="8135873" y="804037"/>
                </a:cubicBezTo>
                <a:lnTo>
                  <a:pt x="8135873" y="804037"/>
                </a:lnTo>
                <a:lnTo>
                  <a:pt x="8136001" y="4020312"/>
                </a:lnTo>
                <a:lnTo>
                  <a:pt x="8136001" y="4020312"/>
                </a:lnTo>
                <a:cubicBezTo>
                  <a:pt x="8136001" y="4464342"/>
                  <a:pt x="7775956" y="4824349"/>
                  <a:pt x="7331836" y="4824349"/>
                </a:cubicBezTo>
                <a:cubicBezTo>
                  <a:pt x="7331836" y="4824349"/>
                  <a:pt x="7331836" y="4824349"/>
                  <a:pt x="7331836" y="4824349"/>
                </a:cubicBezTo>
                <a:lnTo>
                  <a:pt x="7331836" y="4824349"/>
                </a:lnTo>
                <a:lnTo>
                  <a:pt x="804036" y="4824349"/>
                </a:lnTo>
                <a:lnTo>
                  <a:pt x="804036" y="4824349"/>
                </a:lnTo>
                <a:cubicBezTo>
                  <a:pt x="360006" y="4824349"/>
                  <a:pt x="0" y="4464342"/>
                  <a:pt x="0" y="4020312"/>
                </a:cubicBezTo>
                <a:cubicBezTo>
                  <a:pt x="0" y="4020312"/>
                  <a:pt x="0" y="4020312"/>
                  <a:pt x="0" y="4020312"/>
                </a:cubicBezTo>
                <a:lnTo>
                  <a:pt x="0" y="804037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07194" y="1344296"/>
            <a:ext cx="7617110" cy="4189631"/>
          </a:xfrm>
          <a:custGeom>
            <a:avLst/>
            <a:gdLst>
              <a:gd name="connsiteX0" fmla="*/ 0 w 7772285"/>
              <a:gd name="connsiteY0" fmla="*/ 621538 h 3729011"/>
              <a:gd name="connsiteX1" fmla="*/ 621550 w 7772285"/>
              <a:gd name="connsiteY1" fmla="*/ 0 h 3729011"/>
              <a:gd name="connsiteX2" fmla="*/ 621550 w 7772285"/>
              <a:gd name="connsiteY2" fmla="*/ 0 h 3729011"/>
              <a:gd name="connsiteX3" fmla="*/ 621550 w 7772285"/>
              <a:gd name="connsiteY3" fmla="*/ 0 h 3729011"/>
              <a:gd name="connsiteX4" fmla="*/ 7150747 w 7772285"/>
              <a:gd name="connsiteY4" fmla="*/ 0 h 3729011"/>
              <a:gd name="connsiteX5" fmla="*/ 7150747 w 7772285"/>
              <a:gd name="connsiteY5" fmla="*/ 0 h 3729011"/>
              <a:gd name="connsiteX6" fmla="*/ 7772285 w 7772285"/>
              <a:gd name="connsiteY6" fmla="*/ 621538 h 3729011"/>
              <a:gd name="connsiteX7" fmla="*/ 7772285 w 7772285"/>
              <a:gd name="connsiteY7" fmla="*/ 621538 h 3729011"/>
              <a:gd name="connsiteX8" fmla="*/ 7772285 w 7772285"/>
              <a:gd name="connsiteY8" fmla="*/ 621538 h 3729011"/>
              <a:gd name="connsiteX9" fmla="*/ 7772285 w 7772285"/>
              <a:gd name="connsiteY9" fmla="*/ 3107435 h 3729011"/>
              <a:gd name="connsiteX10" fmla="*/ 7772285 w 7772285"/>
              <a:gd name="connsiteY10" fmla="*/ 3107435 h 3729011"/>
              <a:gd name="connsiteX11" fmla="*/ 7150747 w 7772285"/>
              <a:gd name="connsiteY11" fmla="*/ 3729011 h 3729011"/>
              <a:gd name="connsiteX12" fmla="*/ 7150747 w 7772285"/>
              <a:gd name="connsiteY12" fmla="*/ 3729011 h 3729011"/>
              <a:gd name="connsiteX13" fmla="*/ 7150747 w 7772285"/>
              <a:gd name="connsiteY13" fmla="*/ 3729011 h 3729011"/>
              <a:gd name="connsiteX14" fmla="*/ 621550 w 7772285"/>
              <a:gd name="connsiteY14" fmla="*/ 3729011 h 3729011"/>
              <a:gd name="connsiteX15" fmla="*/ 621550 w 7772285"/>
              <a:gd name="connsiteY15" fmla="*/ 3729011 h 3729011"/>
              <a:gd name="connsiteX16" fmla="*/ 0 w 7772285"/>
              <a:gd name="connsiteY16" fmla="*/ 3107435 h 3729011"/>
              <a:gd name="connsiteX17" fmla="*/ 0 w 7772285"/>
              <a:gd name="connsiteY17" fmla="*/ 3107435 h 3729011"/>
              <a:gd name="connsiteX18" fmla="*/ 0 w 7772285"/>
              <a:gd name="connsiteY18" fmla="*/ 621538 h 372901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772285" h="3729011">
                <a:moveTo>
                  <a:pt x="0" y="621538"/>
                </a:moveTo>
                <a:cubicBezTo>
                  <a:pt x="0" y="278257"/>
                  <a:pt x="278269" y="0"/>
                  <a:pt x="621550" y="0"/>
                </a:cubicBezTo>
                <a:cubicBezTo>
                  <a:pt x="621550" y="0"/>
                  <a:pt x="621550" y="0"/>
                  <a:pt x="621550" y="0"/>
                </a:cubicBezTo>
                <a:lnTo>
                  <a:pt x="621550" y="0"/>
                </a:lnTo>
                <a:lnTo>
                  <a:pt x="7150747" y="0"/>
                </a:lnTo>
                <a:lnTo>
                  <a:pt x="7150747" y="0"/>
                </a:lnTo>
                <a:cubicBezTo>
                  <a:pt x="7494029" y="0"/>
                  <a:pt x="7772285" y="278257"/>
                  <a:pt x="7772285" y="621538"/>
                </a:cubicBezTo>
                <a:cubicBezTo>
                  <a:pt x="7772285" y="621538"/>
                  <a:pt x="7772285" y="621538"/>
                  <a:pt x="7772285" y="621538"/>
                </a:cubicBezTo>
                <a:lnTo>
                  <a:pt x="7772285" y="621538"/>
                </a:lnTo>
                <a:lnTo>
                  <a:pt x="7772285" y="3107435"/>
                </a:lnTo>
                <a:lnTo>
                  <a:pt x="7772285" y="3107435"/>
                </a:lnTo>
                <a:cubicBezTo>
                  <a:pt x="7772285" y="3450716"/>
                  <a:pt x="7494029" y="3729011"/>
                  <a:pt x="7150747" y="3729011"/>
                </a:cubicBezTo>
                <a:cubicBezTo>
                  <a:pt x="7150747" y="3729011"/>
                  <a:pt x="7150747" y="3729011"/>
                  <a:pt x="7150747" y="3729011"/>
                </a:cubicBezTo>
                <a:lnTo>
                  <a:pt x="7150747" y="3729011"/>
                </a:lnTo>
                <a:lnTo>
                  <a:pt x="621550" y="3729011"/>
                </a:lnTo>
                <a:lnTo>
                  <a:pt x="621550" y="3729011"/>
                </a:lnTo>
                <a:cubicBezTo>
                  <a:pt x="278269" y="3729011"/>
                  <a:pt x="0" y="3450716"/>
                  <a:pt x="0" y="3107435"/>
                </a:cubicBezTo>
                <a:cubicBezTo>
                  <a:pt x="0" y="3107435"/>
                  <a:pt x="0" y="3107435"/>
                  <a:pt x="0" y="3107435"/>
                </a:cubicBezTo>
                <a:lnTo>
                  <a:pt x="0" y="621538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>
              <a:lnSpc>
                <a:spcPts val="1862"/>
              </a:lnSpc>
              <a:tabLst>
                <a:tab pos="87122" algn="l"/>
              </a:tabLst>
            </a:pPr>
            <a:r>
              <a:rPr lang="en-US" altLang="zh-CN" sz="17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а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ремени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–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эт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еличи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затра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че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ремени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становленна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дл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ыполне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единицы</a:t>
            </a:r>
            <a:endParaRPr lang="en-US" altLang="zh-CN" sz="1400" i="1" dirty="0">
              <a:solidFill>
                <a:srgbClr val="323937"/>
              </a:solidFill>
              <a:latin typeface="Arial Narrow" pitchFamily="18" charset="0"/>
              <a:cs typeface="Arial Narrow" pitchFamily="18" charset="0"/>
            </a:endParaRP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sz="1400" dirty="0"/>
              <a:t>	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нико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л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групп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нико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оответствующе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квалификац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пределенных</a:t>
            </a:r>
            <a:endParaRPr lang="en-US" altLang="zh-CN" sz="1400" i="1" dirty="0">
              <a:solidFill>
                <a:srgbClr val="323937"/>
              </a:solidFill>
              <a:latin typeface="Arial Narrow" pitchFamily="18" charset="0"/>
              <a:cs typeface="Arial Narrow" pitchFamily="18" charset="0"/>
            </a:endParaRP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sz="1400" dirty="0"/>
              <a:t>	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рганизационно-технически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словиях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.</a:t>
            </a:r>
          </a:p>
          <a:p>
            <a:pPr>
              <a:lnSpc>
                <a:spcPts val="2352"/>
              </a:lnSpc>
              <a:tabLst>
                <a:tab pos="87122" algn="l"/>
              </a:tabLst>
            </a:pPr>
            <a:r>
              <a:rPr lang="en-US" altLang="zh-CN" sz="17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а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ыра</a:t>
            </a:r>
            <a:r>
              <a:rPr lang="ru-RU" altLang="zh-CN" sz="17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б</a:t>
            </a:r>
            <a:r>
              <a:rPr lang="en-US" altLang="zh-CN" sz="17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тки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–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эт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становленны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бъе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ы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которы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ник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л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групп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ников</a:t>
            </a:r>
            <a:endParaRPr lang="en-US" altLang="zh-CN" sz="1400" i="1" dirty="0">
              <a:solidFill>
                <a:srgbClr val="323937"/>
              </a:solidFill>
              <a:latin typeface="Arial Narrow" pitchFamily="18" charset="0"/>
              <a:cs typeface="Arial Narrow" pitchFamily="18" charset="0"/>
            </a:endParaRP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sz="1400" dirty="0"/>
              <a:t>	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оответствующ</a:t>
            </a:r>
            <a:r>
              <a:rPr lang="ru-RU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е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квалификац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бязан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ыполнить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единицу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че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ремен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пределенных</a:t>
            </a:r>
            <a:r>
              <a:rPr lang="ru-RU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рганизационно-технически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словиях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.</a:t>
            </a:r>
          </a:p>
          <a:p>
            <a:pPr>
              <a:lnSpc>
                <a:spcPts val="2352"/>
              </a:lnSpc>
              <a:tabLst>
                <a:tab pos="87122" algn="l"/>
              </a:tabLst>
            </a:pPr>
            <a:r>
              <a:rPr lang="en-US" altLang="zh-CN" sz="17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а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бслуживания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7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(</a:t>
            </a:r>
            <a:r>
              <a:rPr lang="en-US" altLang="zh-CN" sz="17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ы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7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грузки</a:t>
            </a:r>
            <a:r>
              <a:rPr lang="en-US" altLang="zh-CN" sz="17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)–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эт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количеств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бъектов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которы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ник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ли</a:t>
            </a:r>
            <a:endParaRPr lang="en-US" altLang="zh-CN" sz="1400" i="1" dirty="0">
              <a:solidFill>
                <a:srgbClr val="323937"/>
              </a:solidFill>
              <a:latin typeface="Arial Narrow" pitchFamily="18" charset="0"/>
              <a:cs typeface="Arial Narrow" pitchFamily="18" charset="0"/>
            </a:endParaRP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sz="1400" dirty="0"/>
              <a:t>	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групп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нико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оответствующе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квалификац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бязан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бслужить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ечен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единицы</a:t>
            </a:r>
            <a:endParaRPr lang="en-US" altLang="zh-CN" sz="1400" i="1" dirty="0">
              <a:solidFill>
                <a:srgbClr val="323937"/>
              </a:solidFill>
              <a:latin typeface="Arial Narrow" pitchFamily="18" charset="0"/>
              <a:cs typeface="Arial Narrow" pitchFamily="18" charset="0"/>
            </a:endParaRP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sz="1400" dirty="0"/>
              <a:t>	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че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ремен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(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мены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)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пределенн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рганизационно-технически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словиях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.</a:t>
            </a:r>
          </a:p>
          <a:p>
            <a:pPr>
              <a:lnSpc>
                <a:spcPts val="2352"/>
              </a:lnSpc>
              <a:tabLst>
                <a:tab pos="87122" algn="l"/>
              </a:tabLst>
            </a:pPr>
            <a:r>
              <a:rPr lang="en-US" altLang="zh-CN" sz="17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а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численности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–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эт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становленна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численность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нико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пределенного</a:t>
            </a:r>
            <a:endParaRPr lang="en-US" altLang="zh-CN" sz="1400" i="1" dirty="0">
              <a:solidFill>
                <a:srgbClr val="323937"/>
              </a:solidFill>
              <a:latin typeface="Arial Narrow" pitchFamily="18" charset="0"/>
              <a:cs typeface="Arial Narrow" pitchFamily="18" charset="0"/>
            </a:endParaRP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sz="1400" dirty="0"/>
              <a:t>	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рофессионально-квалификационно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состава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еобходима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дл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ыполне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конкретных</a:t>
            </a:r>
            <a:endParaRPr lang="en-US" altLang="zh-CN" sz="1400" i="1" dirty="0">
              <a:solidFill>
                <a:srgbClr val="323937"/>
              </a:solidFill>
              <a:latin typeface="Arial Narrow" pitchFamily="18" charset="0"/>
              <a:cs typeface="Arial Narrow" pitchFamily="18" charset="0"/>
            </a:endParaRP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sz="1400" dirty="0"/>
              <a:t>	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роизводственных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правленчески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функци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л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бъемо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або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пределенн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рганизационно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-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sz="1400" dirty="0"/>
              <a:t>	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ехнически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условиях</a:t>
            </a:r>
            <a:r>
              <a:rPr lang="en-US" altLang="zh-CN" sz="1400" i="1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72965" y="597465"/>
            <a:ext cx="3632213" cy="57102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1.Нормирова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: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ермин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предел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8737402" y="6410296"/>
            <a:ext cx="51296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375516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41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609876" y="672148"/>
            <a:ext cx="7549695" cy="4456708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622300" algn="l"/>
                <a:tab pos="92100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</a:p>
          <a:p>
            <a:pPr>
              <a:lnSpc>
                <a:spcPts val="2058"/>
              </a:lnSpc>
              <a:tabLst>
                <a:tab pos="584962" algn="l"/>
                <a:tab pos="622300" algn="l"/>
                <a:tab pos="92100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ыполн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(оказание</a:t>
            </a:r>
          </a:p>
          <a:p>
            <a:pPr>
              <a:lnSpc>
                <a:spcPts val="2058"/>
              </a:lnSpc>
              <a:tabLst>
                <a:tab pos="584962" algn="l"/>
                <a:tab pos="622300" algn="l"/>
                <a:tab pos="92100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слуг)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156"/>
              </a:lnSpc>
              <a:tabLst>
                <a:tab pos="584962" algn="l"/>
                <a:tab pos="622300" algn="l"/>
                <a:tab pos="921004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: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960"/>
              </a:lnSpc>
              <a:tabLst>
                <a:tab pos="584962" algn="l"/>
                <a:tab pos="622300" algn="l"/>
                <a:tab pos="921004" algn="l"/>
              </a:tabLst>
            </a:pPr>
            <a:r>
              <a:rPr lang="en-US" altLang="zh-CN" dirty="0" smtClean="0"/>
              <a:t>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бор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о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ед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блюдения</a:t>
            </a:r>
          </a:p>
          <a:p>
            <a:pPr>
              <a:lnSpc>
                <a:spcPts val="1960"/>
              </a:lnSpc>
              <a:tabLst>
                <a:tab pos="584962" algn="l"/>
                <a:tab pos="622300" algn="l"/>
                <a:tab pos="92100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рекомендуе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одит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блюд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ам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валификация</a:t>
            </a:r>
          </a:p>
          <a:p>
            <a:pPr>
              <a:lnSpc>
                <a:spcPts val="1568"/>
              </a:lnSpc>
              <a:tabLst>
                <a:tab pos="584962" algn="l"/>
                <a:tab pos="622300" algn="l"/>
                <a:tab pos="921004" algn="l"/>
              </a:tabLst>
            </a:pPr>
            <a:r>
              <a:rPr lang="en-US" altLang="zh-CN" sz="1600" dirty="0"/>
              <a:t>	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ответствуе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ровню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ложно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меют</a:t>
            </a:r>
          </a:p>
          <a:p>
            <a:pPr>
              <a:lnSpc>
                <a:spcPts val="1568"/>
              </a:lnSpc>
              <a:tabLst>
                <a:tab pos="584962" algn="l"/>
                <a:tab pos="622300" algn="l"/>
                <a:tab pos="921004" algn="l"/>
              </a:tabLst>
            </a:pPr>
            <a:r>
              <a:rPr lang="en-US" altLang="zh-CN" sz="1600" dirty="0"/>
              <a:t>	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ж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оле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ет)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о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одит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бор</a:t>
            </a:r>
          </a:p>
          <a:p>
            <a:pPr>
              <a:lnSpc>
                <a:spcPts val="1568"/>
              </a:lnSpc>
              <a:tabLst>
                <a:tab pos="584962" algn="l"/>
                <a:tab pos="622300" algn="l"/>
                <a:tab pos="921004" algn="l"/>
              </a:tabLst>
            </a:pPr>
            <a:r>
              <a:rPr lang="en-US" altLang="zh-CN" sz="1600" dirty="0"/>
              <a:t>	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ов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ндивидуально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стоя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доровь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ожет</a:t>
            </a:r>
          </a:p>
          <a:p>
            <a:pPr>
              <a:lnSpc>
                <a:spcPts val="1568"/>
              </a:lnSpc>
              <a:tabLst>
                <a:tab pos="584962" algn="l"/>
                <a:tab pos="622300" algn="l"/>
                <a:tab pos="921004" algn="l"/>
              </a:tabLst>
            </a:pPr>
            <a:r>
              <a:rPr lang="en-US" altLang="zh-CN" sz="1600" dirty="0"/>
              <a:t>	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ущественн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влият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зультат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блюд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лиц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</a:p>
          <a:p>
            <a:pPr>
              <a:lnSpc>
                <a:spcPts val="1568"/>
              </a:lnSpc>
              <a:tabLst>
                <a:tab pos="584962" algn="l"/>
                <a:tab pos="622300" algn="l"/>
                <a:tab pos="921004" algn="l"/>
              </a:tabLst>
            </a:pPr>
            <a:r>
              <a:rPr lang="en-US" altLang="zh-CN" sz="1600" dirty="0"/>
              <a:t>	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граниченным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озможностям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еременн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женщины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ица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давно</a:t>
            </a:r>
          </a:p>
          <a:p>
            <a:pPr>
              <a:lnSpc>
                <a:spcPts val="1568"/>
              </a:lnSpc>
              <a:tabLst>
                <a:tab pos="584962" algn="l"/>
                <a:tab pos="622300" algn="l"/>
                <a:tab pos="921004" algn="l"/>
              </a:tabLst>
            </a:pPr>
            <a:r>
              <a:rPr lang="en-US" altLang="zh-CN" sz="1600" dirty="0"/>
              <a:t>	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ступивш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сл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ительно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рыв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.д.),</a:t>
            </a:r>
          </a:p>
          <a:p>
            <a:pPr>
              <a:lnSpc>
                <a:spcPts val="1568"/>
              </a:lnSpc>
              <a:tabLst>
                <a:tab pos="584962" algn="l"/>
                <a:tab pos="622300" algn="l"/>
                <a:tab pos="921004" algn="l"/>
              </a:tabLst>
            </a:pPr>
            <a:r>
              <a:rPr lang="en-US" altLang="zh-CN" sz="1600" dirty="0"/>
              <a:t>	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яющи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у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я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нешне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л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нутреннего</a:t>
            </a:r>
          </a:p>
          <a:p>
            <a:pPr>
              <a:lnSpc>
                <a:spcPts val="1568"/>
              </a:lnSpc>
              <a:tabLst>
                <a:tab pos="584962" algn="l"/>
                <a:tab pos="622300" algn="l"/>
                <a:tab pos="921004" algn="l"/>
              </a:tabLst>
            </a:pPr>
            <a:r>
              <a:rPr lang="en-US" altLang="zh-CN" sz="1600" dirty="0"/>
              <a:t>	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вместительства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вмещающи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ела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е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</a:p>
          <a:p>
            <a:pPr>
              <a:lnSpc>
                <a:spcPts val="1568"/>
              </a:lnSpc>
              <a:tabLst>
                <a:tab pos="584962" algn="l"/>
                <a:tab pos="622300" algn="l"/>
                <a:tab pos="921004" algn="l"/>
              </a:tabLst>
            </a:pPr>
            <a:r>
              <a:rPr lang="en-US" altLang="zh-CN" sz="1600" dirty="0"/>
              <a:t>	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лжно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профессии)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яющи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язанно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но</a:t>
            </a:r>
          </a:p>
          <a:p>
            <a:pPr>
              <a:lnSpc>
                <a:spcPts val="1568"/>
              </a:lnSpc>
              <a:tabLst>
                <a:tab pos="584962" algn="l"/>
                <a:tab pos="622300" algn="l"/>
                <a:tab pos="921004" algn="l"/>
              </a:tabLst>
            </a:pPr>
            <a:r>
              <a:rPr lang="en-US" altLang="zh-CN" sz="1600" dirty="0"/>
              <a:t>	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сутствующе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а.</a:t>
            </a:r>
          </a:p>
        </p:txBody>
      </p:sp>
    </p:spTree>
    <p:extLst>
      <p:ext uri="{BB962C8B-B14F-4D97-AF65-F5344CB8AC3E}">
        <p14:creationId xmlns:p14="http://schemas.microsoft.com/office/powerpoint/2010/main" val="589777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42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609875" y="622359"/>
            <a:ext cx="7708520" cy="3225601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92100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</a:p>
          <a:p>
            <a:pPr>
              <a:lnSpc>
                <a:spcPts val="2058"/>
              </a:lnSpc>
              <a:tabLst>
                <a:tab pos="584962" algn="l"/>
                <a:tab pos="92100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ыполн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(оказание</a:t>
            </a:r>
          </a:p>
          <a:p>
            <a:pPr>
              <a:lnSpc>
                <a:spcPts val="2058"/>
              </a:lnSpc>
              <a:tabLst>
                <a:tab pos="584962" algn="l"/>
                <a:tab pos="92100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слуг)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156"/>
              </a:lnSpc>
              <a:tabLst>
                <a:tab pos="584962" algn="l"/>
                <a:tab pos="921004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: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1960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ределе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нтенсивно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1960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одит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ход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з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казателе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льно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мпа</a:t>
            </a:r>
          </a:p>
          <a:p>
            <a:pPr>
              <a:lnSpc>
                <a:spcPts val="1568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пример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квивалентно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ходьб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ез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руз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овной</a:t>
            </a:r>
          </a:p>
          <a:p>
            <a:pPr>
              <a:lnSpc>
                <a:spcPts val="1568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стно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коростью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4,8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м/час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акж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коро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я</a:t>
            </a:r>
          </a:p>
          <a:p>
            <a:pPr>
              <a:lnSpc>
                <a:spcPts val="1568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виж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«протянут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уку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ало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епенью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нтрол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сстоя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40</a:t>
            </a:r>
          </a:p>
          <a:p>
            <a:pPr>
              <a:lnSpc>
                <a:spcPts val="1568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м»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коростью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93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м/сек.</a:t>
            </a:r>
          </a:p>
        </p:txBody>
      </p:sp>
    </p:spTree>
    <p:extLst>
      <p:ext uri="{BB962C8B-B14F-4D97-AF65-F5344CB8AC3E}">
        <p14:creationId xmlns:p14="http://schemas.microsoft.com/office/powerpoint/2010/main" val="2696816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44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609875" y="622359"/>
            <a:ext cx="7412286" cy="3225601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92100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</a:p>
          <a:p>
            <a:pPr>
              <a:lnSpc>
                <a:spcPts val="2058"/>
              </a:lnSpc>
              <a:tabLst>
                <a:tab pos="584962" algn="l"/>
                <a:tab pos="92100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ыполн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(оказание</a:t>
            </a:r>
          </a:p>
          <a:p>
            <a:pPr>
              <a:lnSpc>
                <a:spcPts val="2058"/>
              </a:lnSpc>
              <a:tabLst>
                <a:tab pos="584962" algn="l"/>
                <a:tab pos="92100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слуг)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156"/>
              </a:lnSpc>
              <a:tabLst>
                <a:tab pos="584962" algn="l"/>
                <a:tab pos="921004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: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1960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</a:t>
            </a:r>
            <a:r>
              <a:rPr lang="en-US" altLang="zh-CN" sz="1600" i="1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еде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отограф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е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,</a:t>
            </a:r>
          </a:p>
          <a:p>
            <a:pPr>
              <a:lnSpc>
                <a:spcPts val="1960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лжн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ыт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еспечены: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равност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мето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;</a:t>
            </a:r>
          </a:p>
          <a:p>
            <a:pPr>
              <a:lnSpc>
                <a:spcPts val="1568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лич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ебуемо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личеств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ачеств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атериалов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обходимых</a:t>
            </a:r>
          </a:p>
          <a:p>
            <a:pPr>
              <a:lnSpc>
                <a:spcPts val="1568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воевременна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дача;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воевременное</a:t>
            </a:r>
          </a:p>
          <a:p>
            <a:pPr>
              <a:lnSpc>
                <a:spcPts val="1568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набже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лектроэнергие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ным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точникам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нергопитания,</a:t>
            </a:r>
          </a:p>
          <a:p>
            <a:pPr>
              <a:lnSpc>
                <a:spcPts val="1568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ическо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кументацией;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езопасн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</p:txBody>
      </p:sp>
    </p:spTree>
    <p:extLst>
      <p:ext uri="{BB962C8B-B14F-4D97-AF65-F5344CB8AC3E}">
        <p14:creationId xmlns:p14="http://schemas.microsoft.com/office/powerpoint/2010/main" val="4204366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45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609876" y="609912"/>
            <a:ext cx="7566880" cy="3020417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92100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</a:p>
          <a:p>
            <a:pPr>
              <a:lnSpc>
                <a:spcPts val="2058"/>
              </a:lnSpc>
              <a:tabLst>
                <a:tab pos="584962" algn="l"/>
                <a:tab pos="92100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ыполн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(оказание</a:t>
            </a:r>
          </a:p>
          <a:p>
            <a:pPr>
              <a:lnSpc>
                <a:spcPts val="2058"/>
              </a:lnSpc>
              <a:tabLst>
                <a:tab pos="584962" algn="l"/>
                <a:tab pos="92100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слуг)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156"/>
              </a:lnSpc>
              <a:tabLst>
                <a:tab pos="584962" algn="l"/>
                <a:tab pos="921004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: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1960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</a:t>
            </a:r>
            <a:r>
              <a:rPr lang="en-US" altLang="zh-CN" sz="1600" i="1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работк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зультато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следований,</a:t>
            </a:r>
          </a:p>
          <a:p>
            <a:pPr>
              <a:lnSpc>
                <a:spcPts val="1960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ставляе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водк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лементо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тра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е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дготовительно-</a:t>
            </a:r>
          </a:p>
          <a:p>
            <a:pPr>
              <a:lnSpc>
                <a:spcPts val="1568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ключительно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служива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е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ст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1568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д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ичн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добност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ак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рифметическа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редняя</a:t>
            </a:r>
          </a:p>
          <a:p>
            <a:pPr>
              <a:lnSpc>
                <a:spcPts val="1568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зультата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следований.</a:t>
            </a:r>
          </a:p>
        </p:txBody>
      </p:sp>
    </p:spTree>
    <p:extLst>
      <p:ext uri="{BB962C8B-B14F-4D97-AF65-F5344CB8AC3E}">
        <p14:creationId xmlns:p14="http://schemas.microsoft.com/office/powerpoint/2010/main" val="3027096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46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609876" y="672148"/>
            <a:ext cx="7209666" cy="4610596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</a:p>
          <a:p>
            <a:pPr>
              <a:lnSpc>
                <a:spcPts val="2058"/>
              </a:lnSpc>
              <a:tabLst>
                <a:tab pos="584962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ыполн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(оказание</a:t>
            </a:r>
          </a:p>
          <a:p>
            <a:pPr>
              <a:lnSpc>
                <a:spcPts val="2058"/>
              </a:lnSpc>
              <a:tabLst>
                <a:tab pos="584962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слуг)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2156"/>
              </a:lnSpc>
              <a:tabLst>
                <a:tab pos="584962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: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1568"/>
              </a:lnSpc>
              <a:tabLst>
                <a:tab pos="584962" algn="l"/>
              </a:tabLst>
            </a:pPr>
            <a:r>
              <a:rPr lang="en-US" altLang="zh-CN" sz="1600" dirty="0"/>
              <a:t>	</a:t>
            </a:r>
            <a:r>
              <a:rPr lang="en-US" altLang="zh-CN" sz="1600" i="1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редни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казателе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тра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е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,</a:t>
            </a:r>
          </a:p>
          <a:p>
            <a:pPr>
              <a:lnSpc>
                <a:spcPts val="1568"/>
              </a:lnSpc>
              <a:tabLst>
                <a:tab pos="584962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лучен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зультата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блюдений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ссчитываю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казатели</a:t>
            </a:r>
          </a:p>
          <a:p>
            <a:pPr>
              <a:lnSpc>
                <a:spcPts val="1568"/>
              </a:lnSpc>
              <a:tabLst>
                <a:tab pos="584962" algn="l"/>
              </a:tabLst>
            </a:pPr>
            <a:r>
              <a:rPr lang="en-US" altLang="zh-CN" sz="1600" dirty="0"/>
              <a:t>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ледующе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ормуле:</a:t>
            </a:r>
          </a:p>
          <a:p>
            <a:pPr>
              <a:lnSpc>
                <a:spcPts val="1568"/>
              </a:lnSpc>
              <a:tabLst>
                <a:tab pos="584962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=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пз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+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+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+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обс+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отл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+Ту,</a:t>
            </a:r>
          </a:p>
          <a:p>
            <a:pPr>
              <a:lnSpc>
                <a:spcPts val="1568"/>
              </a:lnSpc>
              <a:tabLst>
                <a:tab pos="584962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де:</a:t>
            </a:r>
          </a:p>
          <a:p>
            <a:pPr>
              <a:lnSpc>
                <a:spcPts val="1568"/>
              </a:lnSpc>
              <a:tabLst>
                <a:tab pos="584962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;</a:t>
            </a:r>
          </a:p>
          <a:p>
            <a:pPr>
              <a:lnSpc>
                <a:spcPts val="1568"/>
              </a:lnSpc>
              <a:tabLst>
                <a:tab pos="584962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пз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дготовительно-заключительно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я;</a:t>
            </a:r>
          </a:p>
          <a:p>
            <a:pPr>
              <a:lnSpc>
                <a:spcPts val="1568"/>
              </a:lnSpc>
              <a:tabLst>
                <a:tab pos="584962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но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;</a:t>
            </a:r>
          </a:p>
          <a:p>
            <a:pPr>
              <a:lnSpc>
                <a:spcPts val="1568"/>
              </a:lnSpc>
              <a:tabLst>
                <a:tab pos="584962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спомогательно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;</a:t>
            </a:r>
          </a:p>
          <a:p>
            <a:pPr>
              <a:lnSpc>
                <a:spcPts val="1568"/>
              </a:lnSpc>
              <a:tabLst>
                <a:tab pos="584962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обс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служи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е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ста;</a:t>
            </a:r>
          </a:p>
          <a:p>
            <a:pPr>
              <a:lnSpc>
                <a:spcPts val="1568"/>
              </a:lnSpc>
              <a:tabLst>
                <a:tab pos="584962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отл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д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ичн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добности;</a:t>
            </a:r>
          </a:p>
          <a:p>
            <a:pPr>
              <a:lnSpc>
                <a:spcPts val="1568"/>
              </a:lnSpc>
              <a:tabLst>
                <a:tab pos="584962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у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дых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деляемо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висимо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.</a:t>
            </a:r>
          </a:p>
          <a:p>
            <a:pPr>
              <a:lnSpc>
                <a:spcPts val="1960"/>
              </a:lnSpc>
              <a:tabLst>
                <a:tab pos="584962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50919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47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609876" y="684595"/>
            <a:ext cx="7630359" cy="479013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285013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</a:p>
          <a:p>
            <a:pPr>
              <a:lnSpc>
                <a:spcPts val="2058"/>
              </a:lnSpc>
              <a:tabLst>
                <a:tab pos="584962" algn="l"/>
                <a:tab pos="285013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ыполн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(оказание</a:t>
            </a:r>
          </a:p>
          <a:p>
            <a:pPr>
              <a:lnSpc>
                <a:spcPts val="2058"/>
              </a:lnSpc>
              <a:tabLst>
                <a:tab pos="584962" algn="l"/>
                <a:tab pos="285013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слуг)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156"/>
              </a:lnSpc>
              <a:tabLst>
                <a:tab pos="584962" algn="l"/>
                <a:tab pos="2850134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: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1568"/>
              </a:lnSpc>
              <a:tabLst>
                <a:tab pos="584962" algn="l"/>
                <a:tab pos="2850134" algn="l"/>
              </a:tabLst>
            </a:pPr>
            <a:r>
              <a:rPr lang="en-US" altLang="zh-CN" sz="1600" dirty="0"/>
              <a:t>	</a:t>
            </a:r>
            <a:r>
              <a:rPr lang="en-US" altLang="zh-CN" sz="1600" i="1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7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дых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деляемо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висимо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</a:p>
          <a:p>
            <a:pPr>
              <a:lnSpc>
                <a:spcPts val="1568"/>
              </a:lnSpc>
              <a:tabLst>
                <a:tab pos="584962" algn="l"/>
                <a:tab pos="2850134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е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ст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Ту)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оже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ыт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ределен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цента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еративного</a:t>
            </a:r>
          </a:p>
          <a:p>
            <a:pPr>
              <a:lnSpc>
                <a:spcPts val="1568"/>
              </a:lnSpc>
              <a:tabLst>
                <a:tab pos="584962" algn="l"/>
                <a:tab pos="2850134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:</a:t>
            </a:r>
          </a:p>
          <a:p>
            <a:pPr>
              <a:lnSpc>
                <a:spcPts val="1568"/>
              </a:lnSpc>
              <a:tabLst>
                <a:tab pos="584962" algn="l"/>
                <a:tab pos="285013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у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=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оп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н,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2254"/>
              </a:lnSpc>
              <a:tabLst>
                <a:tab pos="584962" algn="l"/>
                <a:tab pos="2850134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де: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оп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еративно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ссчитываемо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</a:p>
          <a:p>
            <a:pPr>
              <a:lnSpc>
                <a:spcPts val="1568"/>
              </a:lnSpc>
              <a:tabLst>
                <a:tab pos="584962" algn="l"/>
                <a:tab pos="2850134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ледующе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ормуле: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оп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=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+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в;</a:t>
            </a:r>
          </a:p>
          <a:p>
            <a:pPr>
              <a:lnSpc>
                <a:spcPts val="1568"/>
              </a:lnSpc>
              <a:tabLst>
                <a:tab pos="584962" algn="l"/>
                <a:tab pos="2850134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н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эффициент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итывающи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дых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деляемо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</a:p>
          <a:p>
            <a:pPr>
              <a:lnSpc>
                <a:spcPts val="1568"/>
              </a:lnSpc>
              <a:tabLst>
                <a:tab pos="584962" algn="l"/>
                <a:tab pos="2850134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висимо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Кон=∑Купр).</a:t>
            </a:r>
          </a:p>
          <a:p>
            <a:pPr>
              <a:lnSpc>
                <a:spcPts val="1568"/>
              </a:lnSpc>
              <a:tabLst>
                <a:tab pos="584962" algn="l"/>
                <a:tab pos="2850134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о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лученны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зультата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меняе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упр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уммарный</a:t>
            </a:r>
          </a:p>
          <a:p>
            <a:pPr>
              <a:lnSpc>
                <a:spcPts val="1568"/>
              </a:lnSpc>
              <a:tabLst>
                <a:tab pos="584962" algn="l"/>
                <a:tab pos="2850134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эффициен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ет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ед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ы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ссчитывае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</a:p>
          <a:p>
            <a:pPr>
              <a:lnSpc>
                <a:spcPts val="1568"/>
              </a:lnSpc>
              <a:tabLst>
                <a:tab pos="584962" algn="l"/>
                <a:tab pos="2850134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ледующе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ормуле: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∑Купр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=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1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+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2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+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3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+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+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n,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2254"/>
              </a:lnSpc>
              <a:tabLst>
                <a:tab pos="584962" algn="l"/>
                <a:tab pos="2850134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д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1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2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3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n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эффициент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ет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ед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.</a:t>
            </a:r>
          </a:p>
        </p:txBody>
      </p:sp>
    </p:spTree>
    <p:extLst>
      <p:ext uri="{BB962C8B-B14F-4D97-AF65-F5344CB8AC3E}">
        <p14:creationId xmlns:p14="http://schemas.microsoft.com/office/powerpoint/2010/main" val="404784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48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609876" y="672148"/>
            <a:ext cx="7602017" cy="4559300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92100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 err="1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 err="1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ru-RU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 err="1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ыполн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 err="1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endParaRPr lang="ru-RU" altLang="zh-CN" sz="1800" dirty="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ts val="1960"/>
              </a:lnSpc>
              <a:tabLst>
                <a:tab pos="584962" algn="l"/>
                <a:tab pos="921004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altLang="zh-CN" sz="1800" dirty="0" err="1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казание</a:t>
            </a:r>
            <a:r>
              <a:rPr lang="ru-RU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 err="1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слуг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156"/>
              </a:lnSpc>
              <a:tabLst>
                <a:tab pos="584962" algn="l"/>
                <a:tab pos="921004" algn="l"/>
              </a:tabLst>
            </a:pPr>
            <a:r>
              <a:rPr lang="en-US" altLang="zh-CN" dirty="0" smtClean="0"/>
              <a:t>	</a:t>
            </a:r>
            <a:endParaRPr lang="ru-RU" altLang="zh-CN" dirty="0" smtClean="0"/>
          </a:p>
          <a:p>
            <a:pPr>
              <a:lnSpc>
                <a:spcPts val="2156"/>
              </a:lnSpc>
              <a:tabLst>
                <a:tab pos="584962" algn="l"/>
                <a:tab pos="921004" algn="l"/>
              </a:tabLst>
            </a:pPr>
            <a:r>
              <a:rPr lang="ru-RU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         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:</a:t>
            </a:r>
          </a:p>
          <a:p>
            <a:pPr>
              <a:lnSpc>
                <a:spcPts val="1960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</a:t>
            </a:r>
            <a:r>
              <a:rPr lang="en-US" altLang="zh-CN" sz="1600" i="1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7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продолжение)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ределе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ед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∑Купр)</a:t>
            </a:r>
          </a:p>
          <a:p>
            <a:pPr>
              <a:lnSpc>
                <a:spcPts val="1568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изводи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ответств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казателям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анным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</a:p>
          <a:p>
            <a:pPr>
              <a:lnSpc>
                <a:spcPts val="1568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тистически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ан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являющими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ательными:</a:t>
            </a:r>
          </a:p>
          <a:p>
            <a:pPr>
              <a:lnSpc>
                <a:spcPts val="1960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редел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д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висимо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епен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онотонности</a:t>
            </a:r>
          </a:p>
          <a:p>
            <a:pPr>
              <a:lnSpc>
                <a:spcPts val="1568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,</a:t>
            </a:r>
          </a:p>
          <a:p>
            <a:pPr>
              <a:lnSpc>
                <a:spcPts val="1960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редел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д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висимо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мп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,</a:t>
            </a:r>
          </a:p>
          <a:p>
            <a:pPr>
              <a:lnSpc>
                <a:spcPts val="1960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редел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д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вяз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достаточны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вещение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</a:t>
            </a:r>
          </a:p>
          <a:p>
            <a:pPr>
              <a:lnSpc>
                <a:spcPts val="1568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усматривается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ключение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яем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лной</a:t>
            </a:r>
          </a:p>
          <a:p>
            <a:pPr>
              <a:lnSpc>
                <a:spcPts val="1568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мноте;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ающи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лно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мнот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деляе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д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5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инут</a:t>
            </a:r>
          </a:p>
          <a:p>
            <a:pPr>
              <a:lnSpc>
                <a:spcPts val="1568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и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ень;</a:t>
            </a:r>
          </a:p>
          <a:p>
            <a:pPr>
              <a:lnSpc>
                <a:spcPts val="1960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мо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ционально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жим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дых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иц</a:t>
            </a:r>
          </a:p>
          <a:p>
            <a:pPr>
              <a:lnSpc>
                <a:spcPts val="1568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мственно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ятидневно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е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дел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8-часовом</a:t>
            </a:r>
          </a:p>
          <a:p>
            <a:pPr>
              <a:lnSpc>
                <a:spcPts val="1568"/>
              </a:lnSpc>
              <a:tabLst>
                <a:tab pos="584962" algn="l"/>
                <a:tab pos="921004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е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не,</a:t>
            </a:r>
          </a:p>
        </p:txBody>
      </p:sp>
    </p:spTree>
    <p:extLst>
      <p:ext uri="{BB962C8B-B14F-4D97-AF65-F5344CB8AC3E}">
        <p14:creationId xmlns:p14="http://schemas.microsoft.com/office/powerpoint/2010/main" val="3548156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49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609876" y="647253"/>
            <a:ext cx="7246023" cy="377703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2277618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</a:p>
          <a:p>
            <a:pPr>
              <a:lnSpc>
                <a:spcPts val="2058"/>
              </a:lnSpc>
              <a:tabLst>
                <a:tab pos="584962" algn="l"/>
                <a:tab pos="2277618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ыполн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(оказание</a:t>
            </a:r>
          </a:p>
          <a:p>
            <a:pPr>
              <a:lnSpc>
                <a:spcPts val="2058"/>
              </a:lnSpc>
              <a:tabLst>
                <a:tab pos="584962" algn="l"/>
                <a:tab pos="2277618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слуг)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2156"/>
              </a:lnSpc>
              <a:tabLst>
                <a:tab pos="584962" algn="l"/>
                <a:tab pos="2277618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: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1568"/>
              </a:lnSpc>
              <a:tabLst>
                <a:tab pos="584962" algn="l"/>
                <a:tab pos="2277618" algn="l"/>
              </a:tabLst>
            </a:pPr>
            <a:r>
              <a:rPr lang="en-US" altLang="zh-CN" sz="1600" dirty="0"/>
              <a:t>	</a:t>
            </a:r>
            <a:r>
              <a:rPr lang="en-US" altLang="zh-CN" sz="1600" i="1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8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каза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уг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2254"/>
              </a:lnSpc>
              <a:tabLst>
                <a:tab pos="584962" algn="l"/>
                <a:tab pos="2277618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а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каза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уг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равнивае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умме</a:t>
            </a:r>
          </a:p>
          <a:p>
            <a:pPr>
              <a:lnSpc>
                <a:spcPts val="1568"/>
              </a:lnSpc>
              <a:tabLst>
                <a:tab pos="584962" algn="l"/>
                <a:tab pos="2277618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ам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з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стои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уга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ожет</a:t>
            </a:r>
          </a:p>
          <a:p>
            <a:pPr>
              <a:lnSpc>
                <a:spcPts val="1568"/>
              </a:lnSpc>
              <a:tabLst>
                <a:tab pos="584962" algn="l"/>
                <a:tab pos="2277618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ссчитывать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ледующе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ормуле: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2254"/>
              </a:lnSpc>
              <a:tabLst>
                <a:tab pos="584962" algn="l"/>
                <a:tab pos="2277618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∑Н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=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в1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+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в2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+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в3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+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+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вn,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2254"/>
              </a:lnSpc>
              <a:tabLst>
                <a:tab pos="584962" algn="l"/>
                <a:tab pos="2277618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д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в1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в2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в3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вn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дельную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у.</a:t>
            </a:r>
          </a:p>
        </p:txBody>
      </p:sp>
    </p:spTree>
    <p:extLst>
      <p:ext uri="{BB962C8B-B14F-4D97-AF65-F5344CB8AC3E}">
        <p14:creationId xmlns:p14="http://schemas.microsoft.com/office/powerpoint/2010/main" val="3445399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9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4622501"/>
              </p:ext>
            </p:extLst>
          </p:nvPr>
        </p:nvGraphicFramePr>
        <p:xfrm>
          <a:off x="1190190" y="3080676"/>
          <a:ext cx="6581116" cy="2366520"/>
        </p:xfrm>
        <a:graphic>
          <a:graphicData uri="http://schemas.openxmlformats.org/drawingml/2006/table">
            <a:tbl>
              <a:tblPr/>
              <a:tblGrid>
                <a:gridCol w="420129"/>
                <a:gridCol w="2170285"/>
                <a:gridCol w="1861489"/>
                <a:gridCol w="2129213"/>
              </a:tblGrid>
              <a:tr h="537718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№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r>
                        <a:rPr lang="en-US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/п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0" cmpd="sng">
                      <a:solidFill>
                        <a:srgbClr val="99CCFF"/>
                      </a:solidFill>
                      <a:prstDash val="soli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mpd="sng">
                      <a:solidFill>
                        <a:srgbClr val="99CCFF"/>
                      </a:solidFill>
                      <a:prstDash val="solid"/>
                    </a:lnT>
                    <a:lnB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ED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r>
                        <a:rPr lang="ru-RU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бот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en-US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операций)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ED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начения</a:t>
                      </a:r>
                      <a:r>
                        <a:rPr lang="ru-RU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акторов</a:t>
                      </a:r>
                      <a:r>
                        <a:rPr lang="en-US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r>
                        <a:rPr lang="ru-RU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лияющих</a:t>
                      </a:r>
                      <a:r>
                        <a:rPr lang="ru-RU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</a:t>
                      </a:r>
                      <a:r>
                        <a:rPr lang="ru-RU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орму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r>
                        <a:rPr lang="en-US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диница</a:t>
                      </a:r>
                      <a:r>
                        <a:rPr lang="ru-RU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змерения</a:t>
                      </a:r>
                      <a:r>
                        <a:rPr lang="en-US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)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 anchor="ctr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ED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орма</a:t>
                      </a:r>
                      <a:r>
                        <a:rPr lang="ru-RU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ремени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en-US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часов)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mpd="sng">
                      <a:solidFill>
                        <a:srgbClr val="99CCFF"/>
                      </a:solidFill>
                      <a:prstDash val="soli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EDE"/>
                    </a:solidFill>
                  </a:tcPr>
                </a:tc>
              </a:tr>
              <a:tr h="358479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zh-CN" altLang="en-US" sz="1200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0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</a:tr>
              <a:tr h="358479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zh-CN" altLang="en-US" sz="1200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0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</a:tr>
              <a:tr h="358479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zh-CN" altLang="en-US" sz="1200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0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</a:tr>
              <a:tr h="358479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lang="zh-CN" altLang="en-US" sz="1200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0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</a:tr>
              <a:tr h="358479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lang="zh-CN" altLang="en-US" sz="1200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0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mpd="sng">
                      <a:solidFill>
                        <a:srgbClr val="99CCFF"/>
                      </a:solidFill>
                      <a:prstDash val="soli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50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597465"/>
            <a:ext cx="5675400" cy="246898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734314" algn="l"/>
                <a:tab pos="2178050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</a:p>
          <a:p>
            <a:pPr>
              <a:lnSpc>
                <a:spcPts val="2058"/>
              </a:lnSpc>
              <a:tabLst>
                <a:tab pos="734314" algn="l"/>
                <a:tab pos="2178050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ыполн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(оказание</a:t>
            </a:r>
          </a:p>
          <a:p>
            <a:pPr>
              <a:lnSpc>
                <a:spcPts val="2058"/>
              </a:lnSpc>
              <a:tabLst>
                <a:tab pos="734314" algn="l"/>
                <a:tab pos="2178050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слуг)</a:t>
            </a:r>
          </a:p>
          <a:p>
            <a:pPr>
              <a:lnSpc>
                <a:spcPts val="1764"/>
              </a:lnSpc>
              <a:tabLst>
                <a:tab pos="734314" algn="l"/>
                <a:tab pos="2178050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орм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ставл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.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862"/>
              </a:lnSpc>
              <a:tabLst>
                <a:tab pos="734314" algn="l"/>
                <a:tab pos="2178050" algn="l"/>
              </a:tabLst>
            </a:pPr>
            <a:r>
              <a:rPr lang="en-US" altLang="zh-CN" dirty="0" smtClean="0"/>
              <a:t>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ид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именовани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___________________________</a:t>
            </a:r>
          </a:p>
          <a:p>
            <a:pPr>
              <a:lnSpc>
                <a:spcPts val="1176"/>
              </a:lnSpc>
              <a:tabLst>
                <a:tab pos="734314" algn="l"/>
                <a:tab pos="2178050" algn="l"/>
              </a:tabLst>
            </a:pPr>
            <a:r>
              <a:rPr lang="en-US" altLang="zh-CN" sz="1200" dirty="0"/>
              <a:t>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ща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асть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______________________________________</a:t>
            </a:r>
          </a:p>
          <a:p>
            <a:pPr>
              <a:lnSpc>
                <a:spcPts val="1176"/>
              </a:lnSpc>
              <a:tabLst>
                <a:tab pos="734314" algn="l"/>
                <a:tab pos="2178050" algn="l"/>
              </a:tabLst>
            </a:pPr>
            <a:r>
              <a:rPr lang="en-US" altLang="zh-CN" sz="1200" dirty="0"/>
              <a:t>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ласть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менени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____________</a:t>
            </a:r>
          </a:p>
          <a:p>
            <a:pPr>
              <a:lnSpc>
                <a:spcPts val="1176"/>
              </a:lnSpc>
              <a:tabLst>
                <a:tab pos="734314" algn="l"/>
                <a:tab pos="2178050" algn="l"/>
              </a:tabLst>
            </a:pPr>
            <a:r>
              <a:rPr lang="en-US" altLang="zh-CN" sz="1200" dirty="0"/>
              <a:t>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__________________________________</a:t>
            </a:r>
          </a:p>
          <a:p>
            <a:pPr>
              <a:lnSpc>
                <a:spcPts val="1176"/>
              </a:lnSpc>
              <a:tabLst>
                <a:tab pos="734314" algn="l"/>
                <a:tab pos="2178050" algn="l"/>
              </a:tabLst>
            </a:pPr>
            <a:r>
              <a:rPr lang="en-US" altLang="zh-CN" sz="1200" dirty="0"/>
              <a:t>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тивна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асть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наименовани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держани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)__</a:t>
            </a:r>
          </a:p>
          <a:p>
            <a:pPr>
              <a:lnSpc>
                <a:spcPts val="1176"/>
              </a:lnSpc>
              <a:tabLst>
                <a:tab pos="734314" algn="l"/>
                <a:tab pos="2178050" algn="l"/>
              </a:tabLst>
            </a:pPr>
            <a:r>
              <a:rPr lang="en-US" altLang="zh-CN" sz="1200" dirty="0"/>
              <a:t>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исани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й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__________________</a:t>
            </a:r>
          </a:p>
        </p:txBody>
      </p:sp>
    </p:spTree>
    <p:extLst>
      <p:ext uri="{BB962C8B-B14F-4D97-AF65-F5344CB8AC3E}">
        <p14:creationId xmlns:p14="http://schemas.microsoft.com/office/powerpoint/2010/main" val="445525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51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1194858" y="1966655"/>
            <a:ext cx="7104124" cy="234074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470"/>
              </a:lnSpc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исленности: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1568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исленно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:</a:t>
            </a:r>
          </a:p>
          <a:p>
            <a:pPr>
              <a:lnSpc>
                <a:spcPts val="1568"/>
              </a:lnSpc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менят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счетно-аналитически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тод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ьзование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отографии</a:t>
            </a:r>
          </a:p>
          <a:p>
            <a:pPr>
              <a:lnSpc>
                <a:spcPts val="1568"/>
              </a:lnSpc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е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;</a:t>
            </a:r>
          </a:p>
          <a:p>
            <a:pPr>
              <a:lnSpc>
                <a:spcPts val="1568"/>
              </a:lnSpc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одит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сче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исленно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ида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,</a:t>
            </a:r>
          </a:p>
          <a:p>
            <a:pPr>
              <a:lnSpc>
                <a:spcPts val="1568"/>
              </a:lnSpc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уществляемы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казателе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единицу</a:t>
            </a:r>
          </a:p>
          <a:p>
            <a:pPr>
              <a:lnSpc>
                <a:spcPts val="1568"/>
              </a:lnSpc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услуг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ланово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казател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ъем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;</a:t>
            </a:r>
          </a:p>
          <a:p>
            <a:pPr>
              <a:lnSpc>
                <a:spcPts val="1568"/>
              </a:lnSpc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ормироват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казател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единицу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уг</a:t>
            </a:r>
          </a:p>
          <a:p>
            <a:pPr>
              <a:lnSpc>
                <a:spcPts val="1568"/>
              </a:lnSpc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работ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ето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дготовительно-заключительного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спомогательно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1568"/>
              </a:lnSpc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но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5" y="535229"/>
            <a:ext cx="4248279" cy="57102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4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численности</a:t>
            </a:r>
          </a:p>
        </p:txBody>
      </p:sp>
    </p:spTree>
    <p:extLst>
      <p:ext uri="{BB962C8B-B14F-4D97-AF65-F5344CB8AC3E}">
        <p14:creationId xmlns:p14="http://schemas.microsoft.com/office/powerpoint/2010/main" val="829385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28974" y="1103192"/>
            <a:ext cx="7973564" cy="4728308"/>
          </a:xfrm>
          <a:custGeom>
            <a:avLst/>
            <a:gdLst>
              <a:gd name="connsiteX0" fmla="*/ 0 w 8136001"/>
              <a:gd name="connsiteY0" fmla="*/ 804037 h 4824348"/>
              <a:gd name="connsiteX1" fmla="*/ 804036 w 8136001"/>
              <a:gd name="connsiteY1" fmla="*/ 0 h 4824348"/>
              <a:gd name="connsiteX2" fmla="*/ 804036 w 8136001"/>
              <a:gd name="connsiteY2" fmla="*/ 0 h 4824348"/>
              <a:gd name="connsiteX3" fmla="*/ 804036 w 8136001"/>
              <a:gd name="connsiteY3" fmla="*/ 0 h 4824348"/>
              <a:gd name="connsiteX4" fmla="*/ 7331836 w 8136001"/>
              <a:gd name="connsiteY4" fmla="*/ 0 h 4824348"/>
              <a:gd name="connsiteX5" fmla="*/ 7331836 w 8136001"/>
              <a:gd name="connsiteY5" fmla="*/ 0 h 4824348"/>
              <a:gd name="connsiteX6" fmla="*/ 8135873 w 8136001"/>
              <a:gd name="connsiteY6" fmla="*/ 804037 h 4824348"/>
              <a:gd name="connsiteX7" fmla="*/ 8135873 w 8136001"/>
              <a:gd name="connsiteY7" fmla="*/ 804037 h 4824348"/>
              <a:gd name="connsiteX8" fmla="*/ 8135873 w 8136001"/>
              <a:gd name="connsiteY8" fmla="*/ 804037 h 4824348"/>
              <a:gd name="connsiteX9" fmla="*/ 8136001 w 8136001"/>
              <a:gd name="connsiteY9" fmla="*/ 4020312 h 4824348"/>
              <a:gd name="connsiteX10" fmla="*/ 8136001 w 8136001"/>
              <a:gd name="connsiteY10" fmla="*/ 4020312 h 4824348"/>
              <a:gd name="connsiteX11" fmla="*/ 7331836 w 8136001"/>
              <a:gd name="connsiteY11" fmla="*/ 4824349 h 4824348"/>
              <a:gd name="connsiteX12" fmla="*/ 7331836 w 8136001"/>
              <a:gd name="connsiteY12" fmla="*/ 4824349 h 4824348"/>
              <a:gd name="connsiteX13" fmla="*/ 7331836 w 8136001"/>
              <a:gd name="connsiteY13" fmla="*/ 4824349 h 4824348"/>
              <a:gd name="connsiteX14" fmla="*/ 804036 w 8136001"/>
              <a:gd name="connsiteY14" fmla="*/ 4824349 h 4824348"/>
              <a:gd name="connsiteX15" fmla="*/ 804036 w 8136001"/>
              <a:gd name="connsiteY15" fmla="*/ 4824349 h 4824348"/>
              <a:gd name="connsiteX16" fmla="*/ 0 w 8136001"/>
              <a:gd name="connsiteY16" fmla="*/ 4020312 h 4824348"/>
              <a:gd name="connsiteX17" fmla="*/ 0 w 8136001"/>
              <a:gd name="connsiteY17" fmla="*/ 4020312 h 4824348"/>
              <a:gd name="connsiteX18" fmla="*/ 0 w 8136001"/>
              <a:gd name="connsiteY18" fmla="*/ 804037 h 482434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8136001" h="4824348">
                <a:moveTo>
                  <a:pt x="0" y="804037"/>
                </a:moveTo>
                <a:cubicBezTo>
                  <a:pt x="0" y="359918"/>
                  <a:pt x="360006" y="0"/>
                  <a:pt x="804036" y="0"/>
                </a:cubicBezTo>
                <a:cubicBezTo>
                  <a:pt x="804036" y="0"/>
                  <a:pt x="804036" y="0"/>
                  <a:pt x="804036" y="0"/>
                </a:cubicBezTo>
                <a:lnTo>
                  <a:pt x="804036" y="0"/>
                </a:lnTo>
                <a:lnTo>
                  <a:pt x="7331836" y="0"/>
                </a:lnTo>
                <a:lnTo>
                  <a:pt x="7331836" y="0"/>
                </a:lnTo>
                <a:cubicBezTo>
                  <a:pt x="7775956" y="0"/>
                  <a:pt x="8135873" y="359918"/>
                  <a:pt x="8135873" y="804037"/>
                </a:cubicBezTo>
                <a:cubicBezTo>
                  <a:pt x="8135873" y="804037"/>
                  <a:pt x="8135873" y="804037"/>
                  <a:pt x="8135873" y="804037"/>
                </a:cubicBezTo>
                <a:lnTo>
                  <a:pt x="8135873" y="804037"/>
                </a:lnTo>
                <a:lnTo>
                  <a:pt x="8136001" y="4020312"/>
                </a:lnTo>
                <a:lnTo>
                  <a:pt x="8136001" y="4020312"/>
                </a:lnTo>
                <a:cubicBezTo>
                  <a:pt x="8136001" y="4464342"/>
                  <a:pt x="7775956" y="4824349"/>
                  <a:pt x="7331836" y="4824349"/>
                </a:cubicBezTo>
                <a:cubicBezTo>
                  <a:pt x="7331836" y="4824349"/>
                  <a:pt x="7331836" y="4824349"/>
                  <a:pt x="7331836" y="4824349"/>
                </a:cubicBezTo>
                <a:lnTo>
                  <a:pt x="7331836" y="4824349"/>
                </a:lnTo>
                <a:lnTo>
                  <a:pt x="804036" y="4824349"/>
                </a:lnTo>
                <a:lnTo>
                  <a:pt x="804036" y="4824349"/>
                </a:lnTo>
                <a:cubicBezTo>
                  <a:pt x="360006" y="4824349"/>
                  <a:pt x="0" y="4464342"/>
                  <a:pt x="0" y="4020312"/>
                </a:cubicBezTo>
                <a:cubicBezTo>
                  <a:pt x="0" y="4020312"/>
                  <a:pt x="0" y="4020312"/>
                  <a:pt x="0" y="4020312"/>
                </a:cubicBezTo>
                <a:lnTo>
                  <a:pt x="0" y="804037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07194" y="1879151"/>
            <a:ext cx="7617110" cy="3654776"/>
          </a:xfrm>
          <a:custGeom>
            <a:avLst/>
            <a:gdLst>
              <a:gd name="connsiteX0" fmla="*/ 0 w 7772285"/>
              <a:gd name="connsiteY0" fmla="*/ 621538 h 3729011"/>
              <a:gd name="connsiteX1" fmla="*/ 621550 w 7772285"/>
              <a:gd name="connsiteY1" fmla="*/ 0 h 3729011"/>
              <a:gd name="connsiteX2" fmla="*/ 621550 w 7772285"/>
              <a:gd name="connsiteY2" fmla="*/ 0 h 3729011"/>
              <a:gd name="connsiteX3" fmla="*/ 621550 w 7772285"/>
              <a:gd name="connsiteY3" fmla="*/ 0 h 3729011"/>
              <a:gd name="connsiteX4" fmla="*/ 7150747 w 7772285"/>
              <a:gd name="connsiteY4" fmla="*/ 0 h 3729011"/>
              <a:gd name="connsiteX5" fmla="*/ 7150747 w 7772285"/>
              <a:gd name="connsiteY5" fmla="*/ 0 h 3729011"/>
              <a:gd name="connsiteX6" fmla="*/ 7772285 w 7772285"/>
              <a:gd name="connsiteY6" fmla="*/ 621538 h 3729011"/>
              <a:gd name="connsiteX7" fmla="*/ 7772285 w 7772285"/>
              <a:gd name="connsiteY7" fmla="*/ 621538 h 3729011"/>
              <a:gd name="connsiteX8" fmla="*/ 7772285 w 7772285"/>
              <a:gd name="connsiteY8" fmla="*/ 621538 h 3729011"/>
              <a:gd name="connsiteX9" fmla="*/ 7772285 w 7772285"/>
              <a:gd name="connsiteY9" fmla="*/ 3107435 h 3729011"/>
              <a:gd name="connsiteX10" fmla="*/ 7772285 w 7772285"/>
              <a:gd name="connsiteY10" fmla="*/ 3107435 h 3729011"/>
              <a:gd name="connsiteX11" fmla="*/ 7150747 w 7772285"/>
              <a:gd name="connsiteY11" fmla="*/ 3729011 h 3729011"/>
              <a:gd name="connsiteX12" fmla="*/ 7150747 w 7772285"/>
              <a:gd name="connsiteY12" fmla="*/ 3729011 h 3729011"/>
              <a:gd name="connsiteX13" fmla="*/ 7150747 w 7772285"/>
              <a:gd name="connsiteY13" fmla="*/ 3729011 h 3729011"/>
              <a:gd name="connsiteX14" fmla="*/ 621550 w 7772285"/>
              <a:gd name="connsiteY14" fmla="*/ 3729011 h 3729011"/>
              <a:gd name="connsiteX15" fmla="*/ 621550 w 7772285"/>
              <a:gd name="connsiteY15" fmla="*/ 3729011 h 3729011"/>
              <a:gd name="connsiteX16" fmla="*/ 0 w 7772285"/>
              <a:gd name="connsiteY16" fmla="*/ 3107435 h 3729011"/>
              <a:gd name="connsiteX17" fmla="*/ 0 w 7772285"/>
              <a:gd name="connsiteY17" fmla="*/ 3107435 h 3729011"/>
              <a:gd name="connsiteX18" fmla="*/ 0 w 7772285"/>
              <a:gd name="connsiteY18" fmla="*/ 621538 h 372901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772285" h="3729011">
                <a:moveTo>
                  <a:pt x="0" y="621538"/>
                </a:moveTo>
                <a:cubicBezTo>
                  <a:pt x="0" y="278257"/>
                  <a:pt x="278269" y="0"/>
                  <a:pt x="621550" y="0"/>
                </a:cubicBezTo>
                <a:cubicBezTo>
                  <a:pt x="621550" y="0"/>
                  <a:pt x="621550" y="0"/>
                  <a:pt x="621550" y="0"/>
                </a:cubicBezTo>
                <a:lnTo>
                  <a:pt x="621550" y="0"/>
                </a:lnTo>
                <a:lnTo>
                  <a:pt x="7150747" y="0"/>
                </a:lnTo>
                <a:lnTo>
                  <a:pt x="7150747" y="0"/>
                </a:lnTo>
                <a:cubicBezTo>
                  <a:pt x="7494029" y="0"/>
                  <a:pt x="7772285" y="278257"/>
                  <a:pt x="7772285" y="621538"/>
                </a:cubicBezTo>
                <a:cubicBezTo>
                  <a:pt x="7772285" y="621538"/>
                  <a:pt x="7772285" y="621538"/>
                  <a:pt x="7772285" y="621538"/>
                </a:cubicBezTo>
                <a:lnTo>
                  <a:pt x="7772285" y="621538"/>
                </a:lnTo>
                <a:lnTo>
                  <a:pt x="7772285" y="3107435"/>
                </a:lnTo>
                <a:lnTo>
                  <a:pt x="7772285" y="3107435"/>
                </a:lnTo>
                <a:cubicBezTo>
                  <a:pt x="7772285" y="3450716"/>
                  <a:pt x="7494029" y="3729011"/>
                  <a:pt x="7150747" y="3729011"/>
                </a:cubicBezTo>
                <a:cubicBezTo>
                  <a:pt x="7150747" y="3729011"/>
                  <a:pt x="7150747" y="3729011"/>
                  <a:pt x="7150747" y="3729011"/>
                </a:cubicBezTo>
                <a:lnTo>
                  <a:pt x="7150747" y="3729011"/>
                </a:lnTo>
                <a:lnTo>
                  <a:pt x="621550" y="3729011"/>
                </a:lnTo>
                <a:lnTo>
                  <a:pt x="621550" y="3729011"/>
                </a:lnTo>
                <a:cubicBezTo>
                  <a:pt x="278269" y="3729011"/>
                  <a:pt x="0" y="3450716"/>
                  <a:pt x="0" y="3107435"/>
                </a:cubicBezTo>
                <a:cubicBezTo>
                  <a:pt x="0" y="3107435"/>
                  <a:pt x="0" y="3107435"/>
                  <a:pt x="0" y="3107435"/>
                </a:cubicBezTo>
                <a:lnTo>
                  <a:pt x="0" y="621538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472965" y="597465"/>
            <a:ext cx="3632213" cy="57102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1.Нормирова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: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ермин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предел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8737402" y="6410296"/>
            <a:ext cx="51296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6</a:t>
            </a:r>
          </a:p>
        </p:txBody>
      </p:sp>
      <p:sp>
        <p:nvSpPr>
          <p:cNvPr id="11" name="TextBox 1"/>
          <p:cNvSpPr txBox="1"/>
          <p:nvPr/>
        </p:nvSpPr>
        <p:spPr>
          <a:xfrm>
            <a:off x="896144" y="2153362"/>
            <a:ext cx="7939674" cy="141741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862"/>
              </a:lnSpc>
              <a:tabLst>
                <a:tab pos="87122" algn="l"/>
              </a:tabLst>
            </a:pPr>
            <a:r>
              <a:rPr lang="en-US" altLang="zh-CN" sz="1700" i="1" dirty="0" err="1">
                <a:latin typeface="Arial Narrow" pitchFamily="18" charset="0"/>
                <a:cs typeface="Arial Narrow" pitchFamily="18" charset="0"/>
              </a:rPr>
              <a:t>Нормативы</a:t>
            </a:r>
            <a:r>
              <a:rPr lang="ru-RU" altLang="zh-CN" sz="1700" i="1" dirty="0">
                <a:latin typeface="Arial Narrow" pitchFamily="18" charset="0"/>
                <a:cs typeface="Arial Narrow" pitchFamily="18" charset="0"/>
              </a:rPr>
              <a:t>  </a:t>
            </a:r>
            <a:r>
              <a:rPr lang="en-US" altLang="zh-CN" sz="1700" i="1" dirty="0" err="1">
                <a:latin typeface="Arial Narrow" pitchFamily="18" charset="0"/>
                <a:cs typeface="Arial Narrow" pitchFamily="18" charset="0"/>
              </a:rPr>
              <a:t>времени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i="1" dirty="0">
                <a:latin typeface="Arial Narrow" pitchFamily="18" charset="0"/>
                <a:cs typeface="Arial Narrow" pitchFamily="18" charset="0"/>
              </a:rPr>
              <a:t>–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эт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заране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установленна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величин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затра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рабоче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времени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которую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можн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потратить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дл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выполне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единиц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работы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работником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ил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групп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работников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соответствующе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квалификац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в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определенн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организационно-технически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условиях.</a:t>
            </a:r>
          </a:p>
          <a:p>
            <a:pPr>
              <a:lnSpc>
                <a:spcPts val="2352"/>
              </a:lnSpc>
              <a:tabLst>
                <a:tab pos="87122" algn="l"/>
              </a:tabLst>
            </a:pPr>
            <a:r>
              <a:rPr lang="en-US" altLang="zh-CN" sz="1700" i="1" dirty="0" err="1">
                <a:latin typeface="Arial Narrow" pitchFamily="18" charset="0"/>
                <a:cs typeface="Arial Narrow" pitchFamily="18" charset="0"/>
              </a:rPr>
              <a:t>Нормативы</a:t>
            </a:r>
            <a:r>
              <a:rPr lang="ru-RU" altLang="zh-CN" sz="1700" i="1" dirty="0">
                <a:latin typeface="Arial Narrow" pitchFamily="18" charset="0"/>
                <a:cs typeface="Arial Narrow" pitchFamily="18" charset="0"/>
              </a:rPr>
              <a:t> </a:t>
            </a:r>
            <a:r>
              <a:rPr lang="en-US" altLang="zh-CN" sz="1700" i="1" dirty="0" err="1">
                <a:latin typeface="Arial Narrow" pitchFamily="18" charset="0"/>
                <a:cs typeface="Arial Narrow" pitchFamily="18" charset="0"/>
              </a:rPr>
              <a:t>численност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–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эт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заране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расчетна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величина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представляюща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собо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количество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работников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которых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можн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содержать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дл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обслуживан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то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ил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ино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объект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ил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выполнения</a:t>
            </a:r>
          </a:p>
          <a:p>
            <a:pPr>
              <a:lnSpc>
                <a:spcPts val="1568"/>
              </a:lnSpc>
              <a:tabLst>
                <a:tab pos="87122" algn="l"/>
              </a:tabLst>
            </a:pPr>
            <a:r>
              <a:rPr lang="en-US" altLang="zh-CN" dirty="0" smtClean="0"/>
              <a:t>	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определенно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объема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i="1" dirty="0">
                <a:latin typeface="Arial Narrow" pitchFamily="18" charset="0"/>
                <a:cs typeface="Arial Narrow" pitchFamily="18" charset="0"/>
              </a:rPr>
              <a:t>работ.</a:t>
            </a:r>
          </a:p>
        </p:txBody>
      </p:sp>
    </p:spTree>
    <p:extLst>
      <p:ext uri="{BB962C8B-B14F-4D97-AF65-F5344CB8AC3E}">
        <p14:creationId xmlns:p14="http://schemas.microsoft.com/office/powerpoint/2010/main" val="2027231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52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1194859" y="1991548"/>
            <a:ext cx="7078926" cy="2981945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470"/>
              </a:lnSpc>
              <a:tabLst>
                <a:tab pos="2339848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исленности: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1568"/>
              </a:lnSpc>
              <a:tabLst>
                <a:tab pos="2339848" algn="l"/>
              </a:tabLst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казателе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ида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</a:p>
          <a:p>
            <a:pPr>
              <a:lnSpc>
                <a:spcPts val="1568"/>
              </a:lnSpc>
              <a:tabLst>
                <a:tab pos="2339848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оди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сче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казателе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исленно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ледующей</a:t>
            </a:r>
          </a:p>
          <a:p>
            <a:pPr>
              <a:lnSpc>
                <a:spcPts val="1568"/>
              </a:lnSpc>
              <a:tabLst>
                <a:tab pos="2339848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ормуле: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2254"/>
              </a:lnSpc>
              <a:tabLst>
                <a:tab pos="2339848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ч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=(ΣНврi*Оi)/Фрв,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2254"/>
              </a:lnSpc>
              <a:tabLst>
                <a:tab pos="2339848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де: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ч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а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исленност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штат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единицах;</a:t>
            </a:r>
          </a:p>
          <a:p>
            <a:pPr>
              <a:lnSpc>
                <a:spcPts val="1568"/>
              </a:lnSpc>
              <a:tabLst>
                <a:tab pos="2339848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врi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казател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о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i-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ид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уг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работ)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асах;</a:t>
            </a:r>
          </a:p>
          <a:p>
            <a:pPr>
              <a:lnSpc>
                <a:spcPts val="1568"/>
              </a:lnSpc>
              <a:tabLst>
                <a:tab pos="2339848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i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лановы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ъе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каз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выполнения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i-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и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уг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работ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</a:t>
            </a:r>
          </a:p>
          <a:p>
            <a:pPr>
              <a:lnSpc>
                <a:spcPts val="1568"/>
              </a:lnSpc>
              <a:tabLst>
                <a:tab pos="2339848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гламентированны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иод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единицах;</a:t>
            </a:r>
          </a:p>
          <a:p>
            <a:pPr>
              <a:lnSpc>
                <a:spcPts val="1568"/>
              </a:lnSpc>
              <a:tabLst>
                <a:tab pos="2339848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р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онд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е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гламентированны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иод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,0</a:t>
            </a:r>
          </a:p>
          <a:p>
            <a:pPr>
              <a:lnSpc>
                <a:spcPts val="1568"/>
              </a:lnSpc>
              <a:tabLst>
                <a:tab pos="2339848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штатную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единицу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ас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5" y="535229"/>
            <a:ext cx="4248279" cy="57102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4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численности</a:t>
            </a:r>
          </a:p>
        </p:txBody>
      </p:sp>
    </p:spTree>
    <p:extLst>
      <p:ext uri="{BB962C8B-B14F-4D97-AF65-F5344CB8AC3E}">
        <p14:creationId xmlns:p14="http://schemas.microsoft.com/office/powerpoint/2010/main" val="1060051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9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1827731"/>
              </p:ext>
            </p:extLst>
          </p:nvPr>
        </p:nvGraphicFramePr>
        <p:xfrm>
          <a:off x="1190190" y="3080676"/>
          <a:ext cx="6581116" cy="2366520"/>
        </p:xfrm>
        <a:graphic>
          <a:graphicData uri="http://schemas.openxmlformats.org/drawingml/2006/table">
            <a:tbl>
              <a:tblPr/>
              <a:tblGrid>
                <a:gridCol w="420129"/>
                <a:gridCol w="2170285"/>
                <a:gridCol w="1861489"/>
                <a:gridCol w="2129213"/>
              </a:tblGrid>
              <a:tr h="537718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№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r>
                        <a:rPr lang="en-US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/п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0" cmpd="sng">
                      <a:solidFill>
                        <a:srgbClr val="99CCFF"/>
                      </a:solidFill>
                      <a:prstDash val="soli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mpd="sng">
                      <a:solidFill>
                        <a:srgbClr val="99CCFF"/>
                      </a:solidFill>
                      <a:prstDash val="solid"/>
                    </a:lnT>
                    <a:lnB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ED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r>
                        <a:rPr lang="ru-RU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бот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en-US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операций)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ED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начения</a:t>
                      </a:r>
                      <a:r>
                        <a:rPr lang="ru-RU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акторов</a:t>
                      </a:r>
                      <a:r>
                        <a:rPr lang="en-US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r>
                        <a:rPr lang="ru-RU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лияющих</a:t>
                      </a:r>
                      <a:r>
                        <a:rPr lang="ru-RU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</a:t>
                      </a:r>
                      <a:r>
                        <a:rPr lang="ru-RU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орму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r>
                        <a:rPr lang="en-US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диница</a:t>
                      </a:r>
                      <a:r>
                        <a:rPr lang="ru-RU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змерения</a:t>
                      </a:r>
                      <a:r>
                        <a:rPr lang="en-US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)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 anchor="ctr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ED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орма</a:t>
                      </a:r>
                      <a:r>
                        <a:rPr lang="ru-RU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численности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en-US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шт.ед.)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mpd="sng">
                      <a:solidFill>
                        <a:srgbClr val="99CCFF"/>
                      </a:solidFill>
                      <a:prstDash val="soli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EDE"/>
                    </a:solidFill>
                  </a:tcPr>
                </a:tc>
              </a:tr>
              <a:tr h="358479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zh-CN" altLang="en-US" sz="1200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0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</a:tr>
              <a:tr h="358479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zh-CN" altLang="en-US" sz="1200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0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</a:tr>
              <a:tr h="358479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zh-CN" altLang="en-US" sz="1200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0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</a:tr>
              <a:tr h="358479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lang="zh-CN" altLang="en-US" sz="1200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0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</a:tr>
              <a:tr h="358479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lang="zh-CN" altLang="en-US" sz="1200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0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mpd="sng">
                      <a:solidFill>
                        <a:srgbClr val="99CCFF"/>
                      </a:solidFill>
                      <a:prstDash val="soli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53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5" y="597465"/>
            <a:ext cx="7056675" cy="246898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734314" algn="l"/>
                <a:tab pos="1717548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</a:p>
          <a:p>
            <a:pPr>
              <a:lnSpc>
                <a:spcPts val="2058"/>
              </a:lnSpc>
              <a:tabLst>
                <a:tab pos="734314" algn="l"/>
                <a:tab pos="1717548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ыполн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(оказание</a:t>
            </a:r>
          </a:p>
          <a:p>
            <a:pPr>
              <a:lnSpc>
                <a:spcPts val="2058"/>
              </a:lnSpc>
              <a:tabLst>
                <a:tab pos="734314" algn="l"/>
                <a:tab pos="1717548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слуг)</a:t>
            </a:r>
          </a:p>
          <a:p>
            <a:pPr>
              <a:lnSpc>
                <a:spcPts val="1764"/>
              </a:lnSpc>
              <a:tabLst>
                <a:tab pos="734314" algn="l"/>
                <a:tab pos="1717548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орм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ставл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исленности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862"/>
              </a:lnSpc>
              <a:tabLst>
                <a:tab pos="734314" algn="l"/>
                <a:tab pos="1717548" algn="l"/>
              </a:tabLst>
            </a:pPr>
            <a:r>
              <a:rPr lang="en-US" altLang="zh-CN" dirty="0" smtClean="0"/>
              <a:t>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ид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именовани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_______________________________________________________</a:t>
            </a:r>
          </a:p>
          <a:p>
            <a:pPr>
              <a:lnSpc>
                <a:spcPts val="1176"/>
              </a:lnSpc>
              <a:tabLst>
                <a:tab pos="734314" algn="l"/>
                <a:tab pos="1717548" algn="l"/>
              </a:tabLst>
            </a:pPr>
            <a:r>
              <a:rPr lang="en-US" altLang="zh-CN" sz="1200" dirty="0"/>
              <a:t>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ща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асть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___________________________________________________________________</a:t>
            </a:r>
          </a:p>
          <a:p>
            <a:pPr>
              <a:lnSpc>
                <a:spcPts val="1176"/>
              </a:lnSpc>
              <a:tabLst>
                <a:tab pos="734314" algn="l"/>
                <a:tab pos="1717548" algn="l"/>
              </a:tabLst>
            </a:pPr>
            <a:r>
              <a:rPr lang="en-US" altLang="zh-CN" sz="1200" dirty="0"/>
              <a:t>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ласть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менени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исленност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_____________________________________</a:t>
            </a:r>
          </a:p>
          <a:p>
            <a:pPr>
              <a:lnSpc>
                <a:spcPts val="1176"/>
              </a:lnSpc>
              <a:tabLst>
                <a:tab pos="734314" algn="l"/>
                <a:tab pos="1717548" algn="l"/>
              </a:tabLst>
            </a:pPr>
            <a:r>
              <a:rPr lang="en-US" altLang="zh-CN" sz="1200" dirty="0"/>
              <a:t>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______________________________________________________________</a:t>
            </a:r>
          </a:p>
          <a:p>
            <a:pPr>
              <a:lnSpc>
                <a:spcPts val="1176"/>
              </a:lnSpc>
              <a:tabLst>
                <a:tab pos="734314" algn="l"/>
                <a:tab pos="1717548" algn="l"/>
              </a:tabLst>
            </a:pPr>
            <a:r>
              <a:rPr lang="en-US" altLang="zh-CN" sz="1200" dirty="0"/>
              <a:t>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тивна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асть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наименовани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держани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)_______________________________</a:t>
            </a:r>
          </a:p>
          <a:p>
            <a:pPr>
              <a:lnSpc>
                <a:spcPts val="1176"/>
              </a:lnSpc>
              <a:tabLst>
                <a:tab pos="734314" algn="l"/>
                <a:tab pos="1717548" algn="l"/>
              </a:tabLst>
            </a:pPr>
            <a:r>
              <a:rPr lang="en-US" altLang="zh-CN" sz="1200" dirty="0"/>
              <a:t>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исани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й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_________________________________</a:t>
            </a:r>
            <a:r>
              <a:rPr lang="en-US" altLang="zh-CN" sz="1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_____________</a:t>
            </a:r>
          </a:p>
        </p:txBody>
      </p:sp>
    </p:spTree>
    <p:extLst>
      <p:ext uri="{BB962C8B-B14F-4D97-AF65-F5344CB8AC3E}">
        <p14:creationId xmlns:p14="http://schemas.microsoft.com/office/powerpoint/2010/main" val="1600775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54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1194859" y="1954206"/>
            <a:ext cx="6809685" cy="194319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470"/>
              </a:lnSpc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служивания: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1568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служи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: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2254"/>
              </a:lnSpc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менят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счетно-аналитически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тод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казателей</a:t>
            </a:r>
          </a:p>
          <a:p>
            <a:pPr>
              <a:lnSpc>
                <a:spcPts val="1568"/>
              </a:lnSpc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служива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дно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ъект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оказа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дной</a:t>
            </a:r>
          </a:p>
          <a:p>
            <a:pPr>
              <a:lnSpc>
                <a:spcPts val="1568"/>
              </a:lnSpc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уги);</a:t>
            </a:r>
          </a:p>
          <a:p>
            <a:pPr>
              <a:lnSpc>
                <a:spcPts val="1568"/>
              </a:lnSpc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ормироват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казател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атегориям</a:t>
            </a:r>
          </a:p>
          <a:p>
            <a:pPr>
              <a:lnSpc>
                <a:spcPts val="1568"/>
              </a:lnSpc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ложност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должительно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гламентирован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рывов;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5" y="535229"/>
            <a:ext cx="4248279" cy="57102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5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бслуживания</a:t>
            </a:r>
          </a:p>
        </p:txBody>
      </p:sp>
    </p:spTree>
    <p:extLst>
      <p:ext uri="{BB962C8B-B14F-4D97-AF65-F5344CB8AC3E}">
        <p14:creationId xmlns:p14="http://schemas.microsoft.com/office/powerpoint/2010/main" val="2036965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55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1194859" y="1979101"/>
            <a:ext cx="6739345" cy="2763937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470"/>
              </a:lnSpc>
              <a:tabLst>
                <a:tab pos="2290064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служивания: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1568"/>
              </a:lnSpc>
              <a:tabLst>
                <a:tab pos="2290064" algn="l"/>
              </a:tabLst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п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сче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казателе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служи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оди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</a:p>
          <a:p>
            <a:pPr>
              <a:lnSpc>
                <a:spcPts val="1568"/>
              </a:lnSpc>
              <a:tabLst>
                <a:tab pos="2290064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ледующе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ормул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атегория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услуг):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2254"/>
              </a:lnSpc>
              <a:tabLst>
                <a:tab pos="2290064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б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=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р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/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вр.об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,</a:t>
            </a:r>
          </a:p>
          <a:p>
            <a:pPr>
              <a:lnSpc>
                <a:spcPts val="1568"/>
              </a:lnSpc>
              <a:tabLst>
                <a:tab pos="2290064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де:</a:t>
            </a:r>
          </a:p>
          <a:p>
            <a:pPr>
              <a:lnSpc>
                <a:spcPts val="1568"/>
              </a:lnSpc>
              <a:tabLst>
                <a:tab pos="2290064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б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служивания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единицах;</a:t>
            </a:r>
          </a:p>
          <a:p>
            <a:pPr>
              <a:lnSpc>
                <a:spcPts val="1568"/>
              </a:lnSpc>
              <a:tabLst>
                <a:tab pos="2290064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р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онд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е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гламентированны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иод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,0</a:t>
            </a:r>
          </a:p>
          <a:p>
            <a:pPr>
              <a:lnSpc>
                <a:spcPts val="1568"/>
              </a:lnSpc>
              <a:tabLst>
                <a:tab pos="2290064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штатную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единицу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инута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чето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должительности</a:t>
            </a:r>
          </a:p>
          <a:p>
            <a:pPr>
              <a:lnSpc>
                <a:spcPts val="1568"/>
              </a:lnSpc>
              <a:tabLst>
                <a:tab pos="2290064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гламентирован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рывов;</a:t>
            </a:r>
          </a:p>
          <a:p>
            <a:pPr>
              <a:lnSpc>
                <a:spcPts val="1568"/>
              </a:lnSpc>
              <a:tabLst>
                <a:tab pos="2290064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вр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щи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казател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служива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дного</a:t>
            </a:r>
          </a:p>
          <a:p>
            <a:pPr>
              <a:lnSpc>
                <a:spcPts val="1568"/>
              </a:lnSpc>
              <a:tabLst>
                <a:tab pos="2290064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ъект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оказа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дно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уги)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инутах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5" y="535229"/>
            <a:ext cx="4248279" cy="57102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5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бслуживания</a:t>
            </a:r>
          </a:p>
        </p:txBody>
      </p:sp>
    </p:spTree>
    <p:extLst>
      <p:ext uri="{BB962C8B-B14F-4D97-AF65-F5344CB8AC3E}">
        <p14:creationId xmlns:p14="http://schemas.microsoft.com/office/powerpoint/2010/main" val="1573987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9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1295555"/>
              </p:ext>
            </p:extLst>
          </p:nvPr>
        </p:nvGraphicFramePr>
        <p:xfrm>
          <a:off x="1190190" y="3080676"/>
          <a:ext cx="6581116" cy="2366520"/>
        </p:xfrm>
        <a:graphic>
          <a:graphicData uri="http://schemas.openxmlformats.org/drawingml/2006/table">
            <a:tbl>
              <a:tblPr/>
              <a:tblGrid>
                <a:gridCol w="420129"/>
                <a:gridCol w="2170285"/>
                <a:gridCol w="1861489"/>
                <a:gridCol w="2129213"/>
              </a:tblGrid>
              <a:tr h="537718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№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r>
                        <a:rPr lang="en-US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/п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0" cmpd="sng">
                      <a:solidFill>
                        <a:srgbClr val="99CCFF"/>
                      </a:solidFill>
                      <a:prstDash val="soli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mpd="sng">
                      <a:solidFill>
                        <a:srgbClr val="99CCFF"/>
                      </a:solidFill>
                      <a:prstDash val="solid"/>
                    </a:lnT>
                    <a:lnB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ED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r>
                        <a:rPr lang="ru-RU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бот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en-US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операций)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ED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начения</a:t>
                      </a:r>
                      <a:r>
                        <a:rPr lang="ru-RU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акторов</a:t>
                      </a:r>
                      <a:r>
                        <a:rPr lang="en-US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r>
                        <a:rPr lang="ru-RU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лияющих</a:t>
                      </a:r>
                      <a:r>
                        <a:rPr lang="ru-RU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</a:t>
                      </a:r>
                      <a:r>
                        <a:rPr lang="ru-RU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орму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r>
                        <a:rPr lang="en-US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диница</a:t>
                      </a:r>
                      <a:r>
                        <a:rPr lang="ru-RU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змерения</a:t>
                      </a:r>
                      <a:r>
                        <a:rPr lang="en-US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)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 anchor="ctr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ED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орма</a:t>
                      </a:r>
                      <a:r>
                        <a:rPr lang="ru-RU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altLang="zh-CN" sz="1000" b="1" dirty="0" err="1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численности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en-US" altLang="zh-CN" sz="1000" b="1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шт.ед.)</a:t>
                      </a:r>
                      <a:endParaRPr lang="zh-CN" altLang="en-US" sz="1000" b="1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mpd="sng">
                      <a:solidFill>
                        <a:srgbClr val="99CCFF"/>
                      </a:solidFill>
                      <a:prstDash val="soli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DEDE"/>
                    </a:solidFill>
                  </a:tcPr>
                </a:tc>
              </a:tr>
              <a:tr h="358479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zh-CN" altLang="en-US" sz="1200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0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</a:tr>
              <a:tr h="358479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zh-CN" altLang="en-US" sz="1200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0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</a:tr>
              <a:tr h="358479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zh-CN" altLang="en-US" sz="1200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0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</a:tr>
              <a:tr h="358479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lang="zh-CN" altLang="en-US" sz="1200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0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</a:tr>
              <a:tr h="358479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dirty="0" smtClean="0">
                          <a:solidFill>
                            <a:srgbClr val="323937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lang="zh-CN" altLang="en-US" sz="1200" dirty="0" smtClean="0">
                        <a:solidFill>
                          <a:srgbClr val="323937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89614" marR="89614" marT="44810" marB="44810">
                    <a:lnL w="0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mpd="sng">
                      <a:solidFill>
                        <a:srgbClr val="99CCFF"/>
                      </a:solidFill>
                      <a:prstDash val="soli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sz="1800" dirty="0"/>
                    </a:p>
                  </a:txBody>
                  <a:tcPr marL="89614" marR="89614" marT="44810" marB="44810">
                    <a:lnL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" cap="flat" cmpd="sng" algn="ctr">
                      <a:solidFill>
                        <a:srgbClr val="99C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3F3"/>
                    </a:solidFill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56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5" y="597465"/>
            <a:ext cx="7038978" cy="246898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734314" algn="l"/>
                <a:tab pos="2053590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</a:p>
          <a:p>
            <a:pPr>
              <a:lnSpc>
                <a:spcPts val="2058"/>
              </a:lnSpc>
              <a:tabLst>
                <a:tab pos="734314" algn="l"/>
                <a:tab pos="2053590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выполн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(оказание</a:t>
            </a:r>
          </a:p>
          <a:p>
            <a:pPr>
              <a:lnSpc>
                <a:spcPts val="2058"/>
              </a:lnSpc>
              <a:tabLst>
                <a:tab pos="734314" algn="l"/>
                <a:tab pos="2053590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слуг)</a:t>
            </a:r>
          </a:p>
          <a:p>
            <a:pPr>
              <a:lnSpc>
                <a:spcPts val="1764"/>
              </a:lnSpc>
              <a:tabLst>
                <a:tab pos="734314" algn="l"/>
                <a:tab pos="2053590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орм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ставл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служивания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862"/>
              </a:lnSpc>
              <a:tabLst>
                <a:tab pos="734314" algn="l"/>
                <a:tab pos="2053590" algn="l"/>
              </a:tabLst>
            </a:pPr>
            <a:r>
              <a:rPr lang="en-US" altLang="zh-CN" dirty="0" smtClean="0"/>
              <a:t>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ид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именовани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_______________________________________________________</a:t>
            </a:r>
          </a:p>
          <a:p>
            <a:pPr>
              <a:lnSpc>
                <a:spcPts val="1176"/>
              </a:lnSpc>
              <a:tabLst>
                <a:tab pos="734314" algn="l"/>
                <a:tab pos="2053590" algn="l"/>
              </a:tabLst>
            </a:pPr>
            <a:r>
              <a:rPr lang="en-US" altLang="zh-CN" sz="1200" dirty="0"/>
              <a:t>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ща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асть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___________________________________________________________________</a:t>
            </a:r>
          </a:p>
          <a:p>
            <a:pPr>
              <a:lnSpc>
                <a:spcPts val="1176"/>
              </a:lnSpc>
              <a:tabLst>
                <a:tab pos="734314" algn="l"/>
                <a:tab pos="2053590" algn="l"/>
              </a:tabLst>
            </a:pPr>
            <a:r>
              <a:rPr lang="en-US" altLang="zh-CN" sz="1200" dirty="0"/>
              <a:t>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ласть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менени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служивани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_____________________________________</a:t>
            </a:r>
          </a:p>
          <a:p>
            <a:pPr>
              <a:lnSpc>
                <a:spcPts val="1176"/>
              </a:lnSpc>
              <a:tabLst>
                <a:tab pos="734314" algn="l"/>
                <a:tab pos="2053590" algn="l"/>
              </a:tabLst>
            </a:pPr>
            <a:r>
              <a:rPr lang="en-US" altLang="zh-CN" sz="1200" dirty="0"/>
              <a:t>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______________________________________________________________</a:t>
            </a:r>
          </a:p>
          <a:p>
            <a:pPr>
              <a:lnSpc>
                <a:spcPts val="1176"/>
              </a:lnSpc>
              <a:tabLst>
                <a:tab pos="734314" algn="l"/>
                <a:tab pos="2053590" algn="l"/>
              </a:tabLst>
            </a:pPr>
            <a:r>
              <a:rPr lang="en-US" altLang="zh-CN" sz="1200" dirty="0"/>
              <a:t>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тивна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асть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наименовани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держани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)_______________________________</a:t>
            </a:r>
          </a:p>
          <a:p>
            <a:pPr>
              <a:lnSpc>
                <a:spcPts val="1176"/>
              </a:lnSpc>
              <a:tabLst>
                <a:tab pos="734314" algn="l"/>
                <a:tab pos="2053590" algn="l"/>
              </a:tabLst>
            </a:pPr>
            <a:r>
              <a:rPr lang="en-US" altLang="zh-CN" sz="1200" dirty="0"/>
              <a:t>	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исание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й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я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2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______________________________________________</a:t>
            </a:r>
          </a:p>
        </p:txBody>
      </p:sp>
    </p:spTree>
    <p:extLst>
      <p:ext uri="{BB962C8B-B14F-4D97-AF65-F5344CB8AC3E}">
        <p14:creationId xmlns:p14="http://schemas.microsoft.com/office/powerpoint/2010/main" val="4202006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547644" y="410757"/>
            <a:ext cx="6128780" cy="69882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2548"/>
              </a:lnSpc>
            </a:pPr>
            <a:r>
              <a:rPr lang="en-US" altLang="zh-CN" sz="2400" dirty="0">
                <a:solidFill>
                  <a:srgbClr val="3399FF"/>
                </a:solidFill>
                <a:latin typeface="Times New Roman" pitchFamily="18" charset="0"/>
                <a:cs typeface="Times New Roman" pitchFamily="18" charset="0"/>
              </a:rPr>
              <a:t>Модуль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3399FF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0066CC"/>
                </a:solidFill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en-US" altLang="zh-CN" sz="2400" dirty="0" err="1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Приказ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 err="1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Минтруда</a:t>
            </a:r>
            <a:r>
              <a:rPr lang="ru-RU" altLang="zh-CN" sz="2400" dirty="0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 err="1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России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№</a:t>
            </a:r>
            <a:r>
              <a:rPr lang="ru-RU" altLang="zh-CN" sz="2400" dirty="0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504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endParaRPr lang="ru-RU" altLang="zh-CN" sz="2400" dirty="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ts val="2548"/>
              </a:lnSpc>
            </a:pPr>
            <a:r>
              <a:rPr lang="en-US" altLang="zh-CN" sz="2400" dirty="0" err="1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30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 err="1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сентября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2013г</a:t>
            </a:r>
            <a:r>
              <a:rPr lang="ru-RU" altLang="zh-CN" sz="2400" dirty="0">
                <a:solidFill>
                  <a:srgbClr val="505A5A"/>
                </a:solidFill>
                <a:latin typeface="Times New Roman" pitchFamily="18" charset="0"/>
                <a:cs typeface="Times New Roman" pitchFamily="18" charset="0"/>
              </a:rPr>
              <a:t>»</a:t>
            </a:r>
            <a:endParaRPr lang="en-US" altLang="zh-CN" sz="2400" dirty="0">
              <a:solidFill>
                <a:srgbClr val="505A5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1"/>
          <p:cNvSpPr txBox="1"/>
          <p:nvPr/>
        </p:nvSpPr>
        <p:spPr>
          <a:xfrm>
            <a:off x="535197" y="2003995"/>
            <a:ext cx="192360" cy="135329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764"/>
              </a:lnSpc>
            </a:pP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.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764"/>
              </a:lnSpc>
            </a:pP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.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764"/>
              </a:lnSpc>
            </a:pP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.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764"/>
              </a:lnSpc>
            </a:pP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4.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983269" y="1954207"/>
            <a:ext cx="5763757" cy="1366118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2156"/>
              </a:lnSpc>
            </a:pP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ание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каза</a:t>
            </a:r>
          </a:p>
          <a:p>
            <a:pPr>
              <a:lnSpc>
                <a:spcPts val="2744"/>
              </a:lnSpc>
            </a:pP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ные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ложения</a:t>
            </a:r>
          </a:p>
          <a:p>
            <a:pPr>
              <a:lnSpc>
                <a:spcPts val="2744"/>
              </a:lnSpc>
            </a:pP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мые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дходы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2744"/>
              </a:lnSpc>
            </a:pP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ормализация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0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я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57</a:t>
            </a:r>
          </a:p>
        </p:txBody>
      </p:sp>
    </p:spTree>
    <p:extLst>
      <p:ext uri="{BB962C8B-B14F-4D97-AF65-F5344CB8AC3E}">
        <p14:creationId xmlns:p14="http://schemas.microsoft.com/office/powerpoint/2010/main" val="3971567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58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1194859" y="1966654"/>
            <a:ext cx="6699334" cy="2289448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470"/>
              </a:lnSpc>
              <a:tabLst>
                <a:tab pos="336042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тодическ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ац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сударствен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муниципальных)</a:t>
            </a:r>
          </a:p>
          <a:p>
            <a:pPr>
              <a:lnSpc>
                <a:spcPts val="1568"/>
              </a:lnSpc>
              <a:tabLst>
                <a:tab pos="336042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исте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1960"/>
              </a:lnSpc>
              <a:tabLst>
                <a:tab pos="336042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казо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ин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осс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№504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0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ентябр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013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да</a:t>
            </a:r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1960"/>
              </a:lnSpc>
              <a:tabLst>
                <a:tab pos="336042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ответств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ункто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0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лож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№2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грамм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этапного</a:t>
            </a:r>
          </a:p>
          <a:p>
            <a:pPr>
              <a:lnSpc>
                <a:spcPts val="1568"/>
              </a:lnSpc>
              <a:tabLst>
                <a:tab pos="336042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вершенств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исте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лат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сударственных</a:t>
            </a:r>
          </a:p>
          <a:p>
            <a:pPr>
              <a:lnSpc>
                <a:spcPts val="1568"/>
              </a:lnSpc>
              <a:tabLst>
                <a:tab pos="336042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муниципальных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я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012-2018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да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ной</a:t>
            </a:r>
          </a:p>
          <a:p>
            <a:pPr>
              <a:lnSpc>
                <a:spcPts val="1568"/>
              </a:lnSpc>
              <a:tabLst>
                <a:tab pos="336042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споряжение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авительств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оссийско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ц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6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ября</a:t>
            </a:r>
          </a:p>
          <a:p>
            <a:pPr>
              <a:lnSpc>
                <a:spcPts val="1568"/>
              </a:lnSpc>
              <a:tabLst>
                <a:tab pos="336042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012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№2190-р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5" y="522781"/>
            <a:ext cx="2316724" cy="30172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1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снова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риказа</a:t>
            </a:r>
          </a:p>
        </p:txBody>
      </p:sp>
    </p:spTree>
    <p:extLst>
      <p:ext uri="{BB962C8B-B14F-4D97-AF65-F5344CB8AC3E}">
        <p14:creationId xmlns:p14="http://schemas.microsoft.com/office/powerpoint/2010/main" val="1101903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59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609876" y="634806"/>
            <a:ext cx="7338676" cy="3379490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921004" algn="l"/>
                <a:tab pos="2688336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2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снов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ложения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352"/>
              </a:lnSpc>
              <a:tabLst>
                <a:tab pos="584962" algn="l"/>
                <a:tab pos="921004" algn="l"/>
                <a:tab pos="2688336" algn="l"/>
              </a:tabLst>
            </a:pPr>
            <a:r>
              <a:rPr lang="en-US" altLang="zh-CN" dirty="0" smtClean="0"/>
              <a:t>			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СНОВНЫЕ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ОЛОЖЕНИЯ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 algn="ctr">
              <a:lnSpc>
                <a:spcPts val="2058"/>
              </a:lnSpc>
              <a:tabLst>
                <a:tab pos="584962" algn="l"/>
                <a:tab pos="921004" algn="l"/>
                <a:tab pos="2688336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тодическ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ац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сударственных</a:t>
            </a:r>
            <a:r>
              <a:rPr lang="ru-RU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униципальных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endParaRPr lang="ru-RU" altLang="zh-CN" sz="1600" dirty="0"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2058"/>
              </a:lnSpc>
              <a:tabLst>
                <a:tab pos="584962" algn="l"/>
                <a:tab pos="921004" algn="l"/>
                <a:tab pos="2688336" algn="l"/>
              </a:tabLst>
            </a:pPr>
            <a:r>
              <a:rPr lang="ru-RU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     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истемы</a:t>
            </a:r>
            <a:r>
              <a:rPr lang="ru-RU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дале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endParaRPr lang="ru-RU" altLang="zh-CN" sz="1600" dirty="0"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2058"/>
              </a:lnSpc>
              <a:tabLst>
                <a:tab pos="584962" algn="l"/>
                <a:tab pos="921004" algn="l"/>
                <a:tab pos="2688336" algn="l"/>
              </a:tabLst>
            </a:pPr>
            <a:r>
              <a:rPr lang="ru-RU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     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тодические</a:t>
            </a:r>
            <a:r>
              <a:rPr lang="ru-RU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ации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дготовлен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целя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казания</a:t>
            </a:r>
            <a:r>
              <a:rPr lang="ru-RU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ctr">
              <a:lnSpc>
                <a:spcPts val="2058"/>
              </a:lnSpc>
              <a:tabLst>
                <a:tab pos="584962" algn="l"/>
                <a:tab pos="921004" algn="l"/>
                <a:tab pos="2688336" algn="l"/>
              </a:tabLst>
            </a:pPr>
            <a:r>
              <a:rPr lang="ru-RU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тодическо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нформационно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мощи</a:t>
            </a:r>
            <a:r>
              <a:rPr lang="ru-RU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сударственны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endParaRPr lang="ru-RU" altLang="zh-CN" sz="1600" dirty="0">
              <a:solidFill>
                <a:srgbClr val="323937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2058"/>
              </a:lnSpc>
              <a:tabLst>
                <a:tab pos="584962" algn="l"/>
                <a:tab pos="921004" algn="l"/>
                <a:tab pos="2688336" algn="l"/>
              </a:tabLst>
            </a:pP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униципальны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я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ru-RU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ределен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исте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endParaRPr lang="ru-RU" altLang="zh-CN" sz="1600" dirty="0"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2058"/>
              </a:lnSpc>
              <a:tabLst>
                <a:tab pos="584962" algn="l"/>
                <a:tab pos="921004" algn="l"/>
                <a:tab pos="2688336" algn="l"/>
              </a:tabLst>
            </a:pPr>
            <a:r>
              <a:rPr lang="en-US" altLang="zh-CN" sz="1600" dirty="0" err="1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17858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60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609876" y="672148"/>
            <a:ext cx="7518084" cy="4520828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2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снов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ложения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352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dirty="0" smtClean="0"/>
              <a:t>			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СНОВНЫЕ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ОЛОЖЕНИЯ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666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д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истемо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сударственно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муниципальном)</a:t>
            </a:r>
          </a:p>
          <a:p>
            <a:pPr>
              <a:lnSpc>
                <a:spcPts val="1568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дале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е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нимае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мплекс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шений,</a:t>
            </a:r>
          </a:p>
          <a:p>
            <a:pPr>
              <a:lnSpc>
                <a:spcPts val="1568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ормализован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окально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тивно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кт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ли</a:t>
            </a:r>
          </a:p>
          <a:p>
            <a:pPr>
              <a:lnSpc>
                <a:spcPts val="1568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ллективно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говоре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ределяющий:</a:t>
            </a:r>
          </a:p>
          <a:p>
            <a:pPr>
              <a:lnSpc>
                <a:spcPts val="1568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600" dirty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меняем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лжностя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лужащих</a:t>
            </a:r>
          </a:p>
          <a:p>
            <a:pPr>
              <a:lnSpc>
                <a:spcPts val="1568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600" dirty="0"/>
              <a:t>	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профессия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их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лич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атегори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рупп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и</a:t>
            </a:r>
          </a:p>
          <a:p>
            <a:pPr>
              <a:lnSpc>
                <a:spcPts val="1568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600" dirty="0"/>
              <a:t>	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л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идо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функций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дале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)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акже</a:t>
            </a:r>
          </a:p>
          <a:p>
            <a:pPr>
              <a:lnSpc>
                <a:spcPts val="1568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600" dirty="0"/>
              <a:t>	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тод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пособ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ия;</a:t>
            </a:r>
          </a:p>
          <a:p>
            <a:pPr>
              <a:lnSpc>
                <a:spcPts val="1568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600" dirty="0"/>
              <a:t>	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рядок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недр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менительн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нкретным</a:t>
            </a:r>
          </a:p>
          <a:p>
            <a:pPr>
              <a:lnSpc>
                <a:spcPts val="1568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600" dirty="0"/>
              <a:t>	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изводственны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ям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ему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сту;</a:t>
            </a:r>
          </a:p>
          <a:p>
            <a:pPr>
              <a:lnSpc>
                <a:spcPts val="1568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600" dirty="0"/>
              <a:t>	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ю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мен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отр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аз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ценки</a:t>
            </a:r>
          </a:p>
          <a:p>
            <a:pPr>
              <a:lnSpc>
                <a:spcPts val="1568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600" dirty="0"/>
              <a:t>	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ровн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пряженност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грессивно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руги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ачественных</a:t>
            </a:r>
          </a:p>
          <a:p>
            <a:pPr>
              <a:lnSpc>
                <a:spcPts val="1568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600" dirty="0"/>
              <a:t>	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казателей;</a:t>
            </a:r>
          </a:p>
          <a:p>
            <a:pPr>
              <a:lnSpc>
                <a:spcPts val="1568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600" dirty="0"/>
              <a:t>	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ры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правленн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блюде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.</a:t>
            </a:r>
          </a:p>
        </p:txBody>
      </p:sp>
    </p:spTree>
    <p:extLst>
      <p:ext uri="{BB962C8B-B14F-4D97-AF65-F5344CB8AC3E}">
        <p14:creationId xmlns:p14="http://schemas.microsoft.com/office/powerpoint/2010/main" val="4156319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61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609876" y="634807"/>
            <a:ext cx="7461081" cy="3623146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2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снов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ложения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352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dirty="0" smtClean="0"/>
              <a:t>			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СНОВНЫЕ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ОЛОЖЕНИЯ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156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ным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целям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исте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</a:p>
          <a:p>
            <a:pPr>
              <a:lnSpc>
                <a:spcPts val="2058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являются:</a:t>
            </a:r>
          </a:p>
          <a:p>
            <a:pPr>
              <a:lnSpc>
                <a:spcPts val="1568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600" dirty="0"/>
              <a:t>	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зда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й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обходим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недр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циональных</a:t>
            </a:r>
          </a:p>
          <a:p>
            <a:pPr>
              <a:lnSpc>
                <a:spcPts val="1568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600" dirty="0"/>
              <a:t>	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онных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ологически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цессов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лучшения</a:t>
            </a:r>
          </a:p>
          <a:p>
            <a:pPr>
              <a:lnSpc>
                <a:spcPts val="1568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600" dirty="0"/>
              <a:t>	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;</a:t>
            </a:r>
          </a:p>
          <a:p>
            <a:pPr>
              <a:lnSpc>
                <a:spcPts val="1568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600" dirty="0"/>
              <a:t>	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ндарто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каз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сударствен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муниципальных)</a:t>
            </a:r>
          </a:p>
          <a:p>
            <a:pPr>
              <a:lnSpc>
                <a:spcPts val="1568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600" dirty="0"/>
              <a:t>	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уг;</a:t>
            </a:r>
          </a:p>
          <a:p>
            <a:pPr>
              <a:lnSpc>
                <a:spcPts val="1568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600" dirty="0"/>
              <a:t>	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выше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ффективно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служи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требителей</a:t>
            </a:r>
          </a:p>
          <a:p>
            <a:pPr>
              <a:lnSpc>
                <a:spcPts val="1568"/>
              </a:lnSpc>
              <a:tabLst>
                <a:tab pos="584962" algn="l"/>
                <a:tab pos="933450" algn="l"/>
                <a:tab pos="2688336" algn="l"/>
              </a:tabLst>
            </a:pPr>
            <a:r>
              <a:rPr lang="en-US" altLang="zh-CN" sz="1600" dirty="0"/>
              <a:t>	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сударствен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муниципальных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уг;</a:t>
            </a:r>
          </a:p>
        </p:txBody>
      </p:sp>
    </p:spTree>
    <p:extLst>
      <p:ext uri="{BB962C8B-B14F-4D97-AF65-F5344CB8AC3E}">
        <p14:creationId xmlns:p14="http://schemas.microsoft.com/office/powerpoint/2010/main" val="95466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547643" y="336076"/>
            <a:ext cx="8037226" cy="5489203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740563" y="2668426"/>
            <a:ext cx="2389717" cy="2372680"/>
          </a:xfrm>
          <a:custGeom>
            <a:avLst/>
            <a:gdLst>
              <a:gd name="connsiteX0" fmla="*/ 0 w 2438400"/>
              <a:gd name="connsiteY0" fmla="*/ 2420873 h 2420873"/>
              <a:gd name="connsiteX1" fmla="*/ 2438400 w 2438400"/>
              <a:gd name="connsiteY1" fmla="*/ 2420873 h 2420873"/>
              <a:gd name="connsiteX2" fmla="*/ 2438400 w 2438400"/>
              <a:gd name="connsiteY2" fmla="*/ 0 h 2420873"/>
              <a:gd name="connsiteX3" fmla="*/ 0 w 2438400"/>
              <a:gd name="connsiteY3" fmla="*/ 0 h 2420873"/>
              <a:gd name="connsiteX4" fmla="*/ 0 w 2438400"/>
              <a:gd name="connsiteY4" fmla="*/ 2420873 h 24208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2438400" h="2420873">
                <a:moveTo>
                  <a:pt x="0" y="2420873"/>
                </a:moveTo>
                <a:lnTo>
                  <a:pt x="2438400" y="2420873"/>
                </a:lnTo>
                <a:lnTo>
                  <a:pt x="2438400" y="0"/>
                </a:lnTo>
                <a:lnTo>
                  <a:pt x="0" y="0"/>
                </a:lnTo>
                <a:lnTo>
                  <a:pt x="0" y="2420873"/>
                </a:lnTo>
              </a:path>
            </a:pathLst>
          </a:custGeom>
          <a:solidFill>
            <a:srgbClr val="C8C8C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4340" y="2662202"/>
            <a:ext cx="2402163" cy="2385127"/>
          </a:xfrm>
          <a:custGeom>
            <a:avLst/>
            <a:gdLst>
              <a:gd name="connsiteX0" fmla="*/ 6350 w 2451100"/>
              <a:gd name="connsiteY0" fmla="*/ 2427223 h 2433573"/>
              <a:gd name="connsiteX1" fmla="*/ 2444750 w 2451100"/>
              <a:gd name="connsiteY1" fmla="*/ 2427223 h 2433573"/>
              <a:gd name="connsiteX2" fmla="*/ 2444750 w 2451100"/>
              <a:gd name="connsiteY2" fmla="*/ 6350 h 2433573"/>
              <a:gd name="connsiteX3" fmla="*/ 6350 w 2451100"/>
              <a:gd name="connsiteY3" fmla="*/ 6350 h 2433573"/>
              <a:gd name="connsiteX4" fmla="*/ 6350 w 2451100"/>
              <a:gd name="connsiteY4" fmla="*/ 2427223 h 24335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2451100" h="2433573">
                <a:moveTo>
                  <a:pt x="6350" y="2427223"/>
                </a:moveTo>
                <a:lnTo>
                  <a:pt x="2444750" y="2427223"/>
                </a:lnTo>
                <a:lnTo>
                  <a:pt x="2444750" y="6350"/>
                </a:lnTo>
                <a:lnTo>
                  <a:pt x="6350" y="6350"/>
                </a:lnTo>
                <a:lnTo>
                  <a:pt x="6350" y="2427223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7" name="Freeform 3"/>
          <p:cNvSpPr/>
          <p:nvPr/>
        </p:nvSpPr>
        <p:spPr>
          <a:xfrm>
            <a:off x="703833" y="1134684"/>
            <a:ext cx="7458543" cy="1213351"/>
          </a:xfrm>
          <a:custGeom>
            <a:avLst/>
            <a:gdLst>
              <a:gd name="connsiteX0" fmla="*/ 3871734 w 7610488"/>
              <a:gd name="connsiteY0" fmla="*/ 0 h 1237996"/>
              <a:gd name="connsiteX1" fmla="*/ 0 w 7610488"/>
              <a:gd name="connsiteY1" fmla="*/ 1237995 h 1237996"/>
              <a:gd name="connsiteX2" fmla="*/ 7610487 w 7610488"/>
              <a:gd name="connsiteY2" fmla="*/ 1221739 h 1237996"/>
              <a:gd name="connsiteX3" fmla="*/ 3871734 w 7610488"/>
              <a:gd name="connsiteY3" fmla="*/ 0 h 123799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</a:cxnLst>
            <a:rect l="l" t="t" r="r" b="b"/>
            <a:pathLst>
              <a:path w="7610488" h="1237996">
                <a:moveTo>
                  <a:pt x="3871734" y="0"/>
                </a:moveTo>
                <a:lnTo>
                  <a:pt x="0" y="1237995"/>
                </a:lnTo>
                <a:lnTo>
                  <a:pt x="7610487" y="1221739"/>
                </a:lnTo>
                <a:lnTo>
                  <a:pt x="3871734" y="0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8" name="Freeform 3"/>
          <p:cNvSpPr/>
          <p:nvPr/>
        </p:nvSpPr>
        <p:spPr>
          <a:xfrm>
            <a:off x="697610" y="1128461"/>
            <a:ext cx="7470989" cy="1225798"/>
          </a:xfrm>
          <a:custGeom>
            <a:avLst/>
            <a:gdLst>
              <a:gd name="connsiteX0" fmla="*/ 3878084 w 7623188"/>
              <a:gd name="connsiteY0" fmla="*/ 6350 h 1250696"/>
              <a:gd name="connsiteX1" fmla="*/ 6350 w 7623188"/>
              <a:gd name="connsiteY1" fmla="*/ 1244345 h 1250696"/>
              <a:gd name="connsiteX2" fmla="*/ 7616837 w 7623188"/>
              <a:gd name="connsiteY2" fmla="*/ 1228089 h 1250696"/>
              <a:gd name="connsiteX3" fmla="*/ 3878084 w 7623188"/>
              <a:gd name="connsiteY3" fmla="*/ 6350 h 125069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</a:cxnLst>
            <a:rect l="l" t="t" r="r" b="b"/>
            <a:pathLst>
              <a:path w="7623188" h="1250696">
                <a:moveTo>
                  <a:pt x="3878084" y="6350"/>
                </a:moveTo>
                <a:lnTo>
                  <a:pt x="6350" y="1244345"/>
                </a:lnTo>
                <a:lnTo>
                  <a:pt x="7616837" y="1228089"/>
                </a:lnTo>
                <a:lnTo>
                  <a:pt x="3878084" y="63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9" name="Freeform 3"/>
          <p:cNvSpPr/>
          <p:nvPr/>
        </p:nvSpPr>
        <p:spPr>
          <a:xfrm>
            <a:off x="6039636" y="2655979"/>
            <a:ext cx="2240360" cy="2385127"/>
          </a:xfrm>
          <a:custGeom>
            <a:avLst/>
            <a:gdLst>
              <a:gd name="connsiteX0" fmla="*/ 0 w 2286000"/>
              <a:gd name="connsiteY0" fmla="*/ 2433573 h 2433573"/>
              <a:gd name="connsiteX1" fmla="*/ 2286000 w 2286000"/>
              <a:gd name="connsiteY1" fmla="*/ 2433573 h 2433573"/>
              <a:gd name="connsiteX2" fmla="*/ 2286000 w 2286000"/>
              <a:gd name="connsiteY2" fmla="*/ 0 h 2433573"/>
              <a:gd name="connsiteX3" fmla="*/ 0 w 2286000"/>
              <a:gd name="connsiteY3" fmla="*/ 0 h 2433573"/>
              <a:gd name="connsiteX4" fmla="*/ 0 w 2286000"/>
              <a:gd name="connsiteY4" fmla="*/ 2433573 h 24335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2286000" h="2433573">
                <a:moveTo>
                  <a:pt x="0" y="2433573"/>
                </a:moveTo>
                <a:lnTo>
                  <a:pt x="2286000" y="2433573"/>
                </a:lnTo>
                <a:lnTo>
                  <a:pt x="2286000" y="0"/>
                </a:lnTo>
                <a:lnTo>
                  <a:pt x="0" y="0"/>
                </a:lnTo>
                <a:lnTo>
                  <a:pt x="0" y="2433573"/>
                </a:lnTo>
              </a:path>
            </a:pathLst>
          </a:custGeom>
          <a:solidFill>
            <a:srgbClr val="C8C8C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0" name="Freeform 3"/>
          <p:cNvSpPr/>
          <p:nvPr/>
        </p:nvSpPr>
        <p:spPr>
          <a:xfrm>
            <a:off x="6033413" y="2649755"/>
            <a:ext cx="2252806" cy="2397574"/>
          </a:xfrm>
          <a:custGeom>
            <a:avLst/>
            <a:gdLst>
              <a:gd name="connsiteX0" fmla="*/ 6350 w 2298700"/>
              <a:gd name="connsiteY0" fmla="*/ 2439923 h 2446273"/>
              <a:gd name="connsiteX1" fmla="*/ 2292350 w 2298700"/>
              <a:gd name="connsiteY1" fmla="*/ 2439923 h 2446273"/>
              <a:gd name="connsiteX2" fmla="*/ 2292350 w 2298700"/>
              <a:gd name="connsiteY2" fmla="*/ 6350 h 2446273"/>
              <a:gd name="connsiteX3" fmla="*/ 6350 w 2298700"/>
              <a:gd name="connsiteY3" fmla="*/ 6350 h 2446273"/>
              <a:gd name="connsiteX4" fmla="*/ 6350 w 2298700"/>
              <a:gd name="connsiteY4" fmla="*/ 2439923 h 24462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2298700" h="2446273">
                <a:moveTo>
                  <a:pt x="6350" y="2439923"/>
                </a:moveTo>
                <a:lnTo>
                  <a:pt x="2292350" y="2439923"/>
                </a:lnTo>
                <a:lnTo>
                  <a:pt x="2292350" y="6350"/>
                </a:lnTo>
                <a:lnTo>
                  <a:pt x="6350" y="6350"/>
                </a:lnTo>
                <a:lnTo>
                  <a:pt x="6350" y="2439923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1" name="Freeform 3"/>
          <p:cNvSpPr/>
          <p:nvPr/>
        </p:nvSpPr>
        <p:spPr>
          <a:xfrm>
            <a:off x="3428995" y="2655979"/>
            <a:ext cx="2392828" cy="2385127"/>
          </a:xfrm>
          <a:custGeom>
            <a:avLst/>
            <a:gdLst>
              <a:gd name="connsiteX0" fmla="*/ 0 w 2441575"/>
              <a:gd name="connsiteY0" fmla="*/ 2433573 h 2433573"/>
              <a:gd name="connsiteX1" fmla="*/ 2441575 w 2441575"/>
              <a:gd name="connsiteY1" fmla="*/ 2433573 h 2433573"/>
              <a:gd name="connsiteX2" fmla="*/ 2441575 w 2441575"/>
              <a:gd name="connsiteY2" fmla="*/ 0 h 2433573"/>
              <a:gd name="connsiteX3" fmla="*/ 0 w 2441575"/>
              <a:gd name="connsiteY3" fmla="*/ 0 h 2433573"/>
              <a:gd name="connsiteX4" fmla="*/ 0 w 2441575"/>
              <a:gd name="connsiteY4" fmla="*/ 2433573 h 24335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2441575" h="2433573">
                <a:moveTo>
                  <a:pt x="0" y="2433573"/>
                </a:moveTo>
                <a:lnTo>
                  <a:pt x="2441575" y="2433573"/>
                </a:lnTo>
                <a:lnTo>
                  <a:pt x="2441575" y="0"/>
                </a:lnTo>
                <a:lnTo>
                  <a:pt x="0" y="0"/>
                </a:lnTo>
                <a:lnTo>
                  <a:pt x="0" y="2433573"/>
                </a:lnTo>
              </a:path>
            </a:pathLst>
          </a:custGeom>
          <a:solidFill>
            <a:srgbClr val="C8C8C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2" name="Freeform 3"/>
          <p:cNvSpPr/>
          <p:nvPr/>
        </p:nvSpPr>
        <p:spPr>
          <a:xfrm>
            <a:off x="3422772" y="2649755"/>
            <a:ext cx="2405275" cy="2397574"/>
          </a:xfrm>
          <a:custGeom>
            <a:avLst/>
            <a:gdLst>
              <a:gd name="connsiteX0" fmla="*/ 6350 w 2454275"/>
              <a:gd name="connsiteY0" fmla="*/ 2439923 h 2446273"/>
              <a:gd name="connsiteX1" fmla="*/ 2447925 w 2454275"/>
              <a:gd name="connsiteY1" fmla="*/ 2439923 h 2446273"/>
              <a:gd name="connsiteX2" fmla="*/ 2447925 w 2454275"/>
              <a:gd name="connsiteY2" fmla="*/ 6350 h 2446273"/>
              <a:gd name="connsiteX3" fmla="*/ 6350 w 2454275"/>
              <a:gd name="connsiteY3" fmla="*/ 6350 h 2446273"/>
              <a:gd name="connsiteX4" fmla="*/ 6350 w 2454275"/>
              <a:gd name="connsiteY4" fmla="*/ 2439923 h 24462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2454275" h="2446273">
                <a:moveTo>
                  <a:pt x="6350" y="2439923"/>
                </a:moveTo>
                <a:lnTo>
                  <a:pt x="2447925" y="2439923"/>
                </a:lnTo>
                <a:lnTo>
                  <a:pt x="2447925" y="6350"/>
                </a:lnTo>
                <a:lnTo>
                  <a:pt x="6350" y="6350"/>
                </a:lnTo>
                <a:lnTo>
                  <a:pt x="6350" y="2439923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3" name="Freeform 3"/>
          <p:cNvSpPr/>
          <p:nvPr/>
        </p:nvSpPr>
        <p:spPr>
          <a:xfrm>
            <a:off x="1636707" y="2369694"/>
            <a:ext cx="597429" cy="298608"/>
          </a:xfrm>
          <a:custGeom>
            <a:avLst/>
            <a:gdLst>
              <a:gd name="connsiteX0" fmla="*/ 609600 w 609600"/>
              <a:gd name="connsiteY0" fmla="*/ 228600 h 304673"/>
              <a:gd name="connsiteX1" fmla="*/ 304800 w 609600"/>
              <a:gd name="connsiteY1" fmla="*/ 304672 h 304673"/>
              <a:gd name="connsiteX2" fmla="*/ 0 w 609600"/>
              <a:gd name="connsiteY2" fmla="*/ 228600 h 304673"/>
              <a:gd name="connsiteX3" fmla="*/ 152400 w 609600"/>
              <a:gd name="connsiteY3" fmla="*/ 228600 h 304673"/>
              <a:gd name="connsiteX4" fmla="*/ 152400 w 609600"/>
              <a:gd name="connsiteY4" fmla="*/ 0 h 304673"/>
              <a:gd name="connsiteX5" fmla="*/ 457200 w 609600"/>
              <a:gd name="connsiteY5" fmla="*/ 0 h 304673"/>
              <a:gd name="connsiteX6" fmla="*/ 457200 w 609600"/>
              <a:gd name="connsiteY6" fmla="*/ 228600 h 304673"/>
              <a:gd name="connsiteX7" fmla="*/ 609600 w 609600"/>
              <a:gd name="connsiteY7" fmla="*/ 228600 h 3046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609600" h="304673">
                <a:moveTo>
                  <a:pt x="609600" y="228600"/>
                </a:moveTo>
                <a:lnTo>
                  <a:pt x="304800" y="304672"/>
                </a:lnTo>
                <a:lnTo>
                  <a:pt x="0" y="228600"/>
                </a:lnTo>
                <a:lnTo>
                  <a:pt x="152400" y="228600"/>
                </a:lnTo>
                <a:lnTo>
                  <a:pt x="152400" y="0"/>
                </a:lnTo>
                <a:lnTo>
                  <a:pt x="457200" y="0"/>
                </a:lnTo>
                <a:lnTo>
                  <a:pt x="457200" y="228600"/>
                </a:lnTo>
                <a:lnTo>
                  <a:pt x="609600" y="228600"/>
                </a:lnTo>
              </a:path>
            </a:pathLst>
          </a:custGeom>
          <a:solidFill>
            <a:srgbClr val="C8C8C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4" name="Freeform 3"/>
          <p:cNvSpPr/>
          <p:nvPr/>
        </p:nvSpPr>
        <p:spPr>
          <a:xfrm>
            <a:off x="1630484" y="2363470"/>
            <a:ext cx="609876" cy="311055"/>
          </a:xfrm>
          <a:custGeom>
            <a:avLst/>
            <a:gdLst>
              <a:gd name="connsiteX0" fmla="*/ 615950 w 622300"/>
              <a:gd name="connsiteY0" fmla="*/ 234950 h 317373"/>
              <a:gd name="connsiteX1" fmla="*/ 311150 w 622300"/>
              <a:gd name="connsiteY1" fmla="*/ 311022 h 317373"/>
              <a:gd name="connsiteX2" fmla="*/ 6350 w 622300"/>
              <a:gd name="connsiteY2" fmla="*/ 234950 h 317373"/>
              <a:gd name="connsiteX3" fmla="*/ 158750 w 622300"/>
              <a:gd name="connsiteY3" fmla="*/ 234950 h 317373"/>
              <a:gd name="connsiteX4" fmla="*/ 158750 w 622300"/>
              <a:gd name="connsiteY4" fmla="*/ 6350 h 317373"/>
              <a:gd name="connsiteX5" fmla="*/ 463550 w 622300"/>
              <a:gd name="connsiteY5" fmla="*/ 6350 h 317373"/>
              <a:gd name="connsiteX6" fmla="*/ 463550 w 622300"/>
              <a:gd name="connsiteY6" fmla="*/ 234950 h 317373"/>
              <a:gd name="connsiteX7" fmla="*/ 615950 w 622300"/>
              <a:gd name="connsiteY7" fmla="*/ 234950 h 3173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622300" h="317373">
                <a:moveTo>
                  <a:pt x="615950" y="234950"/>
                </a:moveTo>
                <a:lnTo>
                  <a:pt x="311150" y="311022"/>
                </a:lnTo>
                <a:lnTo>
                  <a:pt x="6350" y="234950"/>
                </a:lnTo>
                <a:lnTo>
                  <a:pt x="158750" y="234950"/>
                </a:lnTo>
                <a:lnTo>
                  <a:pt x="158750" y="6350"/>
                </a:lnTo>
                <a:lnTo>
                  <a:pt x="463550" y="6350"/>
                </a:lnTo>
                <a:lnTo>
                  <a:pt x="463550" y="234950"/>
                </a:lnTo>
                <a:lnTo>
                  <a:pt x="615950" y="2349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323937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5" name="Freeform 3"/>
          <p:cNvSpPr/>
          <p:nvPr/>
        </p:nvSpPr>
        <p:spPr>
          <a:xfrm>
            <a:off x="4250460" y="2369694"/>
            <a:ext cx="597429" cy="298608"/>
          </a:xfrm>
          <a:custGeom>
            <a:avLst/>
            <a:gdLst>
              <a:gd name="connsiteX0" fmla="*/ 609600 w 609600"/>
              <a:gd name="connsiteY0" fmla="*/ 228600 h 304673"/>
              <a:gd name="connsiteX1" fmla="*/ 304800 w 609600"/>
              <a:gd name="connsiteY1" fmla="*/ 304672 h 304673"/>
              <a:gd name="connsiteX2" fmla="*/ 0 w 609600"/>
              <a:gd name="connsiteY2" fmla="*/ 228600 h 304673"/>
              <a:gd name="connsiteX3" fmla="*/ 152400 w 609600"/>
              <a:gd name="connsiteY3" fmla="*/ 228600 h 304673"/>
              <a:gd name="connsiteX4" fmla="*/ 152400 w 609600"/>
              <a:gd name="connsiteY4" fmla="*/ 0 h 304673"/>
              <a:gd name="connsiteX5" fmla="*/ 457200 w 609600"/>
              <a:gd name="connsiteY5" fmla="*/ 0 h 304673"/>
              <a:gd name="connsiteX6" fmla="*/ 457200 w 609600"/>
              <a:gd name="connsiteY6" fmla="*/ 228600 h 304673"/>
              <a:gd name="connsiteX7" fmla="*/ 609600 w 609600"/>
              <a:gd name="connsiteY7" fmla="*/ 228600 h 3046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609600" h="304673">
                <a:moveTo>
                  <a:pt x="609600" y="228600"/>
                </a:moveTo>
                <a:lnTo>
                  <a:pt x="304800" y="304672"/>
                </a:lnTo>
                <a:lnTo>
                  <a:pt x="0" y="228600"/>
                </a:lnTo>
                <a:lnTo>
                  <a:pt x="152400" y="228600"/>
                </a:lnTo>
                <a:lnTo>
                  <a:pt x="152400" y="0"/>
                </a:lnTo>
                <a:lnTo>
                  <a:pt x="457200" y="0"/>
                </a:lnTo>
                <a:lnTo>
                  <a:pt x="457200" y="228600"/>
                </a:lnTo>
                <a:lnTo>
                  <a:pt x="609600" y="228600"/>
                </a:lnTo>
              </a:path>
            </a:pathLst>
          </a:custGeom>
          <a:solidFill>
            <a:srgbClr val="C8C8C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6" name="Freeform 3"/>
          <p:cNvSpPr/>
          <p:nvPr/>
        </p:nvSpPr>
        <p:spPr>
          <a:xfrm>
            <a:off x="4244236" y="2363470"/>
            <a:ext cx="609876" cy="311055"/>
          </a:xfrm>
          <a:custGeom>
            <a:avLst/>
            <a:gdLst>
              <a:gd name="connsiteX0" fmla="*/ 615950 w 622300"/>
              <a:gd name="connsiteY0" fmla="*/ 234950 h 317373"/>
              <a:gd name="connsiteX1" fmla="*/ 311150 w 622300"/>
              <a:gd name="connsiteY1" fmla="*/ 311022 h 317373"/>
              <a:gd name="connsiteX2" fmla="*/ 6350 w 622300"/>
              <a:gd name="connsiteY2" fmla="*/ 234950 h 317373"/>
              <a:gd name="connsiteX3" fmla="*/ 158750 w 622300"/>
              <a:gd name="connsiteY3" fmla="*/ 234950 h 317373"/>
              <a:gd name="connsiteX4" fmla="*/ 158750 w 622300"/>
              <a:gd name="connsiteY4" fmla="*/ 6350 h 317373"/>
              <a:gd name="connsiteX5" fmla="*/ 463550 w 622300"/>
              <a:gd name="connsiteY5" fmla="*/ 6350 h 317373"/>
              <a:gd name="connsiteX6" fmla="*/ 463550 w 622300"/>
              <a:gd name="connsiteY6" fmla="*/ 234950 h 317373"/>
              <a:gd name="connsiteX7" fmla="*/ 615950 w 622300"/>
              <a:gd name="connsiteY7" fmla="*/ 234950 h 3173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622300" h="317373">
                <a:moveTo>
                  <a:pt x="615950" y="234950"/>
                </a:moveTo>
                <a:lnTo>
                  <a:pt x="311150" y="311022"/>
                </a:lnTo>
                <a:lnTo>
                  <a:pt x="6350" y="234950"/>
                </a:lnTo>
                <a:lnTo>
                  <a:pt x="158750" y="234950"/>
                </a:lnTo>
                <a:lnTo>
                  <a:pt x="158750" y="6350"/>
                </a:lnTo>
                <a:lnTo>
                  <a:pt x="463550" y="6350"/>
                </a:lnTo>
                <a:lnTo>
                  <a:pt x="463550" y="234950"/>
                </a:lnTo>
                <a:lnTo>
                  <a:pt x="615950" y="2349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323937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7" name="Freeform 3"/>
          <p:cNvSpPr/>
          <p:nvPr/>
        </p:nvSpPr>
        <p:spPr>
          <a:xfrm>
            <a:off x="6789534" y="2369694"/>
            <a:ext cx="597429" cy="298608"/>
          </a:xfrm>
          <a:custGeom>
            <a:avLst/>
            <a:gdLst>
              <a:gd name="connsiteX0" fmla="*/ 609600 w 609600"/>
              <a:gd name="connsiteY0" fmla="*/ 228600 h 304673"/>
              <a:gd name="connsiteX1" fmla="*/ 304800 w 609600"/>
              <a:gd name="connsiteY1" fmla="*/ 304672 h 304673"/>
              <a:gd name="connsiteX2" fmla="*/ 0 w 609600"/>
              <a:gd name="connsiteY2" fmla="*/ 228600 h 304673"/>
              <a:gd name="connsiteX3" fmla="*/ 152400 w 609600"/>
              <a:gd name="connsiteY3" fmla="*/ 228600 h 304673"/>
              <a:gd name="connsiteX4" fmla="*/ 152400 w 609600"/>
              <a:gd name="connsiteY4" fmla="*/ 0 h 304673"/>
              <a:gd name="connsiteX5" fmla="*/ 457200 w 609600"/>
              <a:gd name="connsiteY5" fmla="*/ 0 h 304673"/>
              <a:gd name="connsiteX6" fmla="*/ 457200 w 609600"/>
              <a:gd name="connsiteY6" fmla="*/ 228600 h 304673"/>
              <a:gd name="connsiteX7" fmla="*/ 609600 w 609600"/>
              <a:gd name="connsiteY7" fmla="*/ 228600 h 3046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609600" h="304673">
                <a:moveTo>
                  <a:pt x="609600" y="228600"/>
                </a:moveTo>
                <a:lnTo>
                  <a:pt x="304800" y="304672"/>
                </a:lnTo>
                <a:lnTo>
                  <a:pt x="0" y="228600"/>
                </a:lnTo>
                <a:lnTo>
                  <a:pt x="152400" y="228600"/>
                </a:lnTo>
                <a:lnTo>
                  <a:pt x="152400" y="0"/>
                </a:lnTo>
                <a:lnTo>
                  <a:pt x="457200" y="0"/>
                </a:lnTo>
                <a:lnTo>
                  <a:pt x="457200" y="228600"/>
                </a:lnTo>
                <a:lnTo>
                  <a:pt x="609600" y="228600"/>
                </a:lnTo>
              </a:path>
            </a:pathLst>
          </a:custGeom>
          <a:solidFill>
            <a:srgbClr val="C8C8C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8" name="Freeform 3"/>
          <p:cNvSpPr/>
          <p:nvPr/>
        </p:nvSpPr>
        <p:spPr>
          <a:xfrm>
            <a:off x="6783311" y="2363470"/>
            <a:ext cx="609876" cy="311055"/>
          </a:xfrm>
          <a:custGeom>
            <a:avLst/>
            <a:gdLst>
              <a:gd name="connsiteX0" fmla="*/ 615950 w 622300"/>
              <a:gd name="connsiteY0" fmla="*/ 234950 h 317373"/>
              <a:gd name="connsiteX1" fmla="*/ 311150 w 622300"/>
              <a:gd name="connsiteY1" fmla="*/ 311022 h 317373"/>
              <a:gd name="connsiteX2" fmla="*/ 6350 w 622300"/>
              <a:gd name="connsiteY2" fmla="*/ 234950 h 317373"/>
              <a:gd name="connsiteX3" fmla="*/ 158750 w 622300"/>
              <a:gd name="connsiteY3" fmla="*/ 234950 h 317373"/>
              <a:gd name="connsiteX4" fmla="*/ 158750 w 622300"/>
              <a:gd name="connsiteY4" fmla="*/ 6350 h 317373"/>
              <a:gd name="connsiteX5" fmla="*/ 463550 w 622300"/>
              <a:gd name="connsiteY5" fmla="*/ 6350 h 317373"/>
              <a:gd name="connsiteX6" fmla="*/ 463550 w 622300"/>
              <a:gd name="connsiteY6" fmla="*/ 234950 h 317373"/>
              <a:gd name="connsiteX7" fmla="*/ 615950 w 622300"/>
              <a:gd name="connsiteY7" fmla="*/ 234950 h 3173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622300" h="317373">
                <a:moveTo>
                  <a:pt x="615950" y="234950"/>
                </a:moveTo>
                <a:lnTo>
                  <a:pt x="311150" y="311022"/>
                </a:lnTo>
                <a:lnTo>
                  <a:pt x="6350" y="234950"/>
                </a:lnTo>
                <a:lnTo>
                  <a:pt x="158750" y="234950"/>
                </a:lnTo>
                <a:lnTo>
                  <a:pt x="158750" y="6350"/>
                </a:lnTo>
                <a:lnTo>
                  <a:pt x="463550" y="6350"/>
                </a:lnTo>
                <a:lnTo>
                  <a:pt x="463550" y="234950"/>
                </a:lnTo>
                <a:lnTo>
                  <a:pt x="615950" y="2349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323937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19" name="Freeform 3"/>
          <p:cNvSpPr/>
          <p:nvPr/>
        </p:nvSpPr>
        <p:spPr>
          <a:xfrm>
            <a:off x="770123" y="5321168"/>
            <a:ext cx="7480311" cy="494775"/>
          </a:xfrm>
          <a:custGeom>
            <a:avLst/>
            <a:gdLst>
              <a:gd name="connsiteX0" fmla="*/ 0 w 7632700"/>
              <a:gd name="connsiteY0" fmla="*/ 504825 h 504825"/>
              <a:gd name="connsiteX1" fmla="*/ 7632700 w 7632700"/>
              <a:gd name="connsiteY1" fmla="*/ 504825 h 504825"/>
              <a:gd name="connsiteX2" fmla="*/ 7632700 w 7632700"/>
              <a:gd name="connsiteY2" fmla="*/ 0 h 504825"/>
              <a:gd name="connsiteX3" fmla="*/ 0 w 7632700"/>
              <a:gd name="connsiteY3" fmla="*/ 0 h 504825"/>
              <a:gd name="connsiteX4" fmla="*/ 0 w 7632700"/>
              <a:gd name="connsiteY4" fmla="*/ 504825 h 50482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7632700" h="504825">
                <a:moveTo>
                  <a:pt x="0" y="504825"/>
                </a:moveTo>
                <a:lnTo>
                  <a:pt x="7632700" y="504825"/>
                </a:lnTo>
                <a:lnTo>
                  <a:pt x="7632700" y="0"/>
                </a:lnTo>
                <a:lnTo>
                  <a:pt x="0" y="0"/>
                </a:lnTo>
                <a:lnTo>
                  <a:pt x="0" y="504825"/>
                </a:lnTo>
              </a:path>
            </a:pathLst>
          </a:custGeom>
          <a:solidFill>
            <a:srgbClr val="C8C8C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0" name="Freeform 3"/>
          <p:cNvSpPr/>
          <p:nvPr/>
        </p:nvSpPr>
        <p:spPr>
          <a:xfrm>
            <a:off x="763900" y="5314945"/>
            <a:ext cx="7492758" cy="507222"/>
          </a:xfrm>
          <a:custGeom>
            <a:avLst/>
            <a:gdLst>
              <a:gd name="connsiteX0" fmla="*/ 6350 w 7645400"/>
              <a:gd name="connsiteY0" fmla="*/ 511175 h 517525"/>
              <a:gd name="connsiteX1" fmla="*/ 7639050 w 7645400"/>
              <a:gd name="connsiteY1" fmla="*/ 511175 h 517525"/>
              <a:gd name="connsiteX2" fmla="*/ 7639050 w 7645400"/>
              <a:gd name="connsiteY2" fmla="*/ 6350 h 517525"/>
              <a:gd name="connsiteX3" fmla="*/ 6350 w 7645400"/>
              <a:gd name="connsiteY3" fmla="*/ 6350 h 517525"/>
              <a:gd name="connsiteX4" fmla="*/ 6350 w 7645400"/>
              <a:gd name="connsiteY4" fmla="*/ 511175 h 517525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7645400" h="517525">
                <a:moveTo>
                  <a:pt x="6350" y="511175"/>
                </a:moveTo>
                <a:lnTo>
                  <a:pt x="7639050" y="511175"/>
                </a:lnTo>
                <a:lnTo>
                  <a:pt x="7639050" y="6350"/>
                </a:lnTo>
                <a:lnTo>
                  <a:pt x="6350" y="6350"/>
                </a:lnTo>
                <a:lnTo>
                  <a:pt x="6350" y="511175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00000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1" name="Freeform 3"/>
          <p:cNvSpPr/>
          <p:nvPr/>
        </p:nvSpPr>
        <p:spPr>
          <a:xfrm>
            <a:off x="4270748" y="5041106"/>
            <a:ext cx="597429" cy="298732"/>
          </a:xfrm>
          <a:custGeom>
            <a:avLst/>
            <a:gdLst>
              <a:gd name="connsiteX0" fmla="*/ 609600 w 609600"/>
              <a:gd name="connsiteY0" fmla="*/ 228600 h 304800"/>
              <a:gd name="connsiteX1" fmla="*/ 304800 w 609600"/>
              <a:gd name="connsiteY1" fmla="*/ 304800 h 304800"/>
              <a:gd name="connsiteX2" fmla="*/ 0 w 609600"/>
              <a:gd name="connsiteY2" fmla="*/ 228600 h 304800"/>
              <a:gd name="connsiteX3" fmla="*/ 152400 w 609600"/>
              <a:gd name="connsiteY3" fmla="*/ 228600 h 304800"/>
              <a:gd name="connsiteX4" fmla="*/ 152400 w 609600"/>
              <a:gd name="connsiteY4" fmla="*/ 0 h 304800"/>
              <a:gd name="connsiteX5" fmla="*/ 457200 w 609600"/>
              <a:gd name="connsiteY5" fmla="*/ 0 h 304800"/>
              <a:gd name="connsiteX6" fmla="*/ 457200 w 609600"/>
              <a:gd name="connsiteY6" fmla="*/ 228600 h 304800"/>
              <a:gd name="connsiteX7" fmla="*/ 609600 w 609600"/>
              <a:gd name="connsiteY7" fmla="*/ 228600 h 3048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609600" h="304800">
                <a:moveTo>
                  <a:pt x="609600" y="228600"/>
                </a:moveTo>
                <a:lnTo>
                  <a:pt x="304800" y="304800"/>
                </a:lnTo>
                <a:lnTo>
                  <a:pt x="0" y="228600"/>
                </a:lnTo>
                <a:lnTo>
                  <a:pt x="152400" y="228600"/>
                </a:lnTo>
                <a:lnTo>
                  <a:pt x="152400" y="0"/>
                </a:lnTo>
                <a:lnTo>
                  <a:pt x="457200" y="0"/>
                </a:lnTo>
                <a:lnTo>
                  <a:pt x="457200" y="228600"/>
                </a:lnTo>
                <a:lnTo>
                  <a:pt x="609600" y="228600"/>
                </a:lnTo>
              </a:path>
            </a:pathLst>
          </a:custGeom>
          <a:solidFill>
            <a:srgbClr val="C8C8C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2" name="Freeform 3"/>
          <p:cNvSpPr/>
          <p:nvPr/>
        </p:nvSpPr>
        <p:spPr>
          <a:xfrm>
            <a:off x="4264524" y="5034883"/>
            <a:ext cx="609876" cy="311179"/>
          </a:xfrm>
          <a:custGeom>
            <a:avLst/>
            <a:gdLst>
              <a:gd name="connsiteX0" fmla="*/ 615950 w 622300"/>
              <a:gd name="connsiteY0" fmla="*/ 234950 h 317500"/>
              <a:gd name="connsiteX1" fmla="*/ 311150 w 622300"/>
              <a:gd name="connsiteY1" fmla="*/ 311150 h 317500"/>
              <a:gd name="connsiteX2" fmla="*/ 6350 w 622300"/>
              <a:gd name="connsiteY2" fmla="*/ 234950 h 317500"/>
              <a:gd name="connsiteX3" fmla="*/ 158750 w 622300"/>
              <a:gd name="connsiteY3" fmla="*/ 234950 h 317500"/>
              <a:gd name="connsiteX4" fmla="*/ 158750 w 622300"/>
              <a:gd name="connsiteY4" fmla="*/ 6350 h 317500"/>
              <a:gd name="connsiteX5" fmla="*/ 463550 w 622300"/>
              <a:gd name="connsiteY5" fmla="*/ 6350 h 317500"/>
              <a:gd name="connsiteX6" fmla="*/ 463550 w 622300"/>
              <a:gd name="connsiteY6" fmla="*/ 234950 h 317500"/>
              <a:gd name="connsiteX7" fmla="*/ 615950 w 622300"/>
              <a:gd name="connsiteY7" fmla="*/ 234950 h 3175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622300" h="317500">
                <a:moveTo>
                  <a:pt x="615950" y="234950"/>
                </a:moveTo>
                <a:lnTo>
                  <a:pt x="311150" y="311150"/>
                </a:lnTo>
                <a:lnTo>
                  <a:pt x="6350" y="234950"/>
                </a:lnTo>
                <a:lnTo>
                  <a:pt x="158750" y="234950"/>
                </a:lnTo>
                <a:lnTo>
                  <a:pt x="158750" y="6350"/>
                </a:lnTo>
                <a:lnTo>
                  <a:pt x="463550" y="6350"/>
                </a:lnTo>
                <a:lnTo>
                  <a:pt x="463550" y="234950"/>
                </a:lnTo>
                <a:lnTo>
                  <a:pt x="615950" y="2349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323937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3" name="Freeform 3"/>
          <p:cNvSpPr/>
          <p:nvPr/>
        </p:nvSpPr>
        <p:spPr>
          <a:xfrm>
            <a:off x="1470297" y="5041106"/>
            <a:ext cx="597429" cy="298732"/>
          </a:xfrm>
          <a:custGeom>
            <a:avLst/>
            <a:gdLst>
              <a:gd name="connsiteX0" fmla="*/ 609600 w 609600"/>
              <a:gd name="connsiteY0" fmla="*/ 228600 h 304800"/>
              <a:gd name="connsiteX1" fmla="*/ 304800 w 609600"/>
              <a:gd name="connsiteY1" fmla="*/ 304800 h 304800"/>
              <a:gd name="connsiteX2" fmla="*/ 0 w 609600"/>
              <a:gd name="connsiteY2" fmla="*/ 228600 h 304800"/>
              <a:gd name="connsiteX3" fmla="*/ 152400 w 609600"/>
              <a:gd name="connsiteY3" fmla="*/ 228600 h 304800"/>
              <a:gd name="connsiteX4" fmla="*/ 152400 w 609600"/>
              <a:gd name="connsiteY4" fmla="*/ 0 h 304800"/>
              <a:gd name="connsiteX5" fmla="*/ 457200 w 609600"/>
              <a:gd name="connsiteY5" fmla="*/ 0 h 304800"/>
              <a:gd name="connsiteX6" fmla="*/ 457200 w 609600"/>
              <a:gd name="connsiteY6" fmla="*/ 228600 h 304800"/>
              <a:gd name="connsiteX7" fmla="*/ 609600 w 609600"/>
              <a:gd name="connsiteY7" fmla="*/ 228600 h 3048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609600" h="304800">
                <a:moveTo>
                  <a:pt x="609600" y="228600"/>
                </a:moveTo>
                <a:lnTo>
                  <a:pt x="304800" y="304800"/>
                </a:lnTo>
                <a:lnTo>
                  <a:pt x="0" y="228600"/>
                </a:lnTo>
                <a:lnTo>
                  <a:pt x="152400" y="228600"/>
                </a:lnTo>
                <a:lnTo>
                  <a:pt x="152400" y="0"/>
                </a:lnTo>
                <a:lnTo>
                  <a:pt x="457200" y="0"/>
                </a:lnTo>
                <a:lnTo>
                  <a:pt x="457200" y="228600"/>
                </a:lnTo>
                <a:lnTo>
                  <a:pt x="609600" y="228600"/>
                </a:lnTo>
              </a:path>
            </a:pathLst>
          </a:custGeom>
          <a:solidFill>
            <a:srgbClr val="C8C8C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4" name="Freeform 3"/>
          <p:cNvSpPr/>
          <p:nvPr/>
        </p:nvSpPr>
        <p:spPr>
          <a:xfrm>
            <a:off x="1464074" y="5034883"/>
            <a:ext cx="609876" cy="311179"/>
          </a:xfrm>
          <a:custGeom>
            <a:avLst/>
            <a:gdLst>
              <a:gd name="connsiteX0" fmla="*/ 615950 w 622300"/>
              <a:gd name="connsiteY0" fmla="*/ 234950 h 317500"/>
              <a:gd name="connsiteX1" fmla="*/ 311150 w 622300"/>
              <a:gd name="connsiteY1" fmla="*/ 311150 h 317500"/>
              <a:gd name="connsiteX2" fmla="*/ 6350 w 622300"/>
              <a:gd name="connsiteY2" fmla="*/ 234950 h 317500"/>
              <a:gd name="connsiteX3" fmla="*/ 158750 w 622300"/>
              <a:gd name="connsiteY3" fmla="*/ 234950 h 317500"/>
              <a:gd name="connsiteX4" fmla="*/ 158750 w 622300"/>
              <a:gd name="connsiteY4" fmla="*/ 6350 h 317500"/>
              <a:gd name="connsiteX5" fmla="*/ 463550 w 622300"/>
              <a:gd name="connsiteY5" fmla="*/ 6350 h 317500"/>
              <a:gd name="connsiteX6" fmla="*/ 463550 w 622300"/>
              <a:gd name="connsiteY6" fmla="*/ 234950 h 317500"/>
              <a:gd name="connsiteX7" fmla="*/ 615950 w 622300"/>
              <a:gd name="connsiteY7" fmla="*/ 234950 h 3175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622300" h="317500">
                <a:moveTo>
                  <a:pt x="615950" y="234950"/>
                </a:moveTo>
                <a:lnTo>
                  <a:pt x="311150" y="311150"/>
                </a:lnTo>
                <a:lnTo>
                  <a:pt x="6350" y="234950"/>
                </a:lnTo>
                <a:lnTo>
                  <a:pt x="158750" y="234950"/>
                </a:lnTo>
                <a:lnTo>
                  <a:pt x="158750" y="6350"/>
                </a:lnTo>
                <a:lnTo>
                  <a:pt x="463550" y="6350"/>
                </a:lnTo>
                <a:lnTo>
                  <a:pt x="463550" y="234950"/>
                </a:lnTo>
                <a:lnTo>
                  <a:pt x="615950" y="2349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323937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5" name="Freeform 3"/>
          <p:cNvSpPr/>
          <p:nvPr/>
        </p:nvSpPr>
        <p:spPr>
          <a:xfrm>
            <a:off x="6861101" y="5041106"/>
            <a:ext cx="597429" cy="298732"/>
          </a:xfrm>
          <a:custGeom>
            <a:avLst/>
            <a:gdLst>
              <a:gd name="connsiteX0" fmla="*/ 609600 w 609600"/>
              <a:gd name="connsiteY0" fmla="*/ 228600 h 304800"/>
              <a:gd name="connsiteX1" fmla="*/ 304800 w 609600"/>
              <a:gd name="connsiteY1" fmla="*/ 304800 h 304800"/>
              <a:gd name="connsiteX2" fmla="*/ 0 w 609600"/>
              <a:gd name="connsiteY2" fmla="*/ 228600 h 304800"/>
              <a:gd name="connsiteX3" fmla="*/ 152400 w 609600"/>
              <a:gd name="connsiteY3" fmla="*/ 228600 h 304800"/>
              <a:gd name="connsiteX4" fmla="*/ 152400 w 609600"/>
              <a:gd name="connsiteY4" fmla="*/ 0 h 304800"/>
              <a:gd name="connsiteX5" fmla="*/ 457200 w 609600"/>
              <a:gd name="connsiteY5" fmla="*/ 0 h 304800"/>
              <a:gd name="connsiteX6" fmla="*/ 457200 w 609600"/>
              <a:gd name="connsiteY6" fmla="*/ 228600 h 304800"/>
              <a:gd name="connsiteX7" fmla="*/ 609600 w 609600"/>
              <a:gd name="connsiteY7" fmla="*/ 228600 h 3048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609600" h="304800">
                <a:moveTo>
                  <a:pt x="609600" y="228600"/>
                </a:moveTo>
                <a:lnTo>
                  <a:pt x="304800" y="304800"/>
                </a:lnTo>
                <a:lnTo>
                  <a:pt x="0" y="228600"/>
                </a:lnTo>
                <a:lnTo>
                  <a:pt x="152400" y="228600"/>
                </a:lnTo>
                <a:lnTo>
                  <a:pt x="152400" y="0"/>
                </a:lnTo>
                <a:lnTo>
                  <a:pt x="457200" y="0"/>
                </a:lnTo>
                <a:lnTo>
                  <a:pt x="457200" y="228600"/>
                </a:lnTo>
                <a:lnTo>
                  <a:pt x="609600" y="228600"/>
                </a:lnTo>
              </a:path>
            </a:pathLst>
          </a:custGeom>
          <a:solidFill>
            <a:srgbClr val="C8C8C8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6" name="Freeform 3"/>
          <p:cNvSpPr/>
          <p:nvPr/>
        </p:nvSpPr>
        <p:spPr>
          <a:xfrm>
            <a:off x="6854878" y="5034883"/>
            <a:ext cx="609876" cy="311179"/>
          </a:xfrm>
          <a:custGeom>
            <a:avLst/>
            <a:gdLst>
              <a:gd name="connsiteX0" fmla="*/ 615950 w 622300"/>
              <a:gd name="connsiteY0" fmla="*/ 234950 h 317500"/>
              <a:gd name="connsiteX1" fmla="*/ 311150 w 622300"/>
              <a:gd name="connsiteY1" fmla="*/ 311150 h 317500"/>
              <a:gd name="connsiteX2" fmla="*/ 6350 w 622300"/>
              <a:gd name="connsiteY2" fmla="*/ 234950 h 317500"/>
              <a:gd name="connsiteX3" fmla="*/ 158750 w 622300"/>
              <a:gd name="connsiteY3" fmla="*/ 234950 h 317500"/>
              <a:gd name="connsiteX4" fmla="*/ 158750 w 622300"/>
              <a:gd name="connsiteY4" fmla="*/ 6350 h 317500"/>
              <a:gd name="connsiteX5" fmla="*/ 463550 w 622300"/>
              <a:gd name="connsiteY5" fmla="*/ 6350 h 317500"/>
              <a:gd name="connsiteX6" fmla="*/ 463550 w 622300"/>
              <a:gd name="connsiteY6" fmla="*/ 234950 h 317500"/>
              <a:gd name="connsiteX7" fmla="*/ 615950 w 622300"/>
              <a:gd name="connsiteY7" fmla="*/ 234950 h 31750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</a:cxnLst>
            <a:rect l="l" t="t" r="r" b="b"/>
            <a:pathLst>
              <a:path w="622300" h="317500">
                <a:moveTo>
                  <a:pt x="615950" y="234950"/>
                </a:moveTo>
                <a:lnTo>
                  <a:pt x="311150" y="311150"/>
                </a:lnTo>
                <a:lnTo>
                  <a:pt x="6350" y="234950"/>
                </a:lnTo>
                <a:lnTo>
                  <a:pt x="158750" y="234950"/>
                </a:lnTo>
                <a:lnTo>
                  <a:pt x="158750" y="6350"/>
                </a:lnTo>
                <a:lnTo>
                  <a:pt x="463550" y="6350"/>
                </a:lnTo>
                <a:lnTo>
                  <a:pt x="463550" y="234950"/>
                </a:lnTo>
                <a:lnTo>
                  <a:pt x="615950" y="234950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323937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pic>
        <p:nvPicPr>
          <p:cNvPr id="28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34340" y="1194929"/>
            <a:ext cx="7542544" cy="1244718"/>
          </a:xfrm>
          <a:prstGeom prst="rect">
            <a:avLst/>
          </a:prstGeom>
          <a:noFill/>
        </p:spPr>
      </p:pic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96572" y="2725932"/>
            <a:ext cx="2427056" cy="2402305"/>
          </a:xfrm>
          <a:prstGeom prst="rect">
            <a:avLst/>
          </a:prstGeom>
          <a:noFill/>
        </p:spPr>
      </p:pic>
      <p:pic>
        <p:nvPicPr>
          <p:cNvPr id="30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485004" y="2713484"/>
            <a:ext cx="2427056" cy="2551671"/>
          </a:xfrm>
          <a:prstGeom prst="rect">
            <a:avLst/>
          </a:prstGeom>
          <a:noFill/>
        </p:spPr>
      </p:pic>
      <p:pic>
        <p:nvPicPr>
          <p:cNvPr id="31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098756" y="2713484"/>
            <a:ext cx="2277699" cy="2414752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8737402" y="6410296"/>
            <a:ext cx="51296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7</a:t>
            </a:r>
          </a:p>
        </p:txBody>
      </p:sp>
      <p:sp>
        <p:nvSpPr>
          <p:cNvPr id="1026" name="TextBox 1"/>
          <p:cNvSpPr txBox="1"/>
          <p:nvPr/>
        </p:nvSpPr>
        <p:spPr>
          <a:xfrm>
            <a:off x="933484" y="2850403"/>
            <a:ext cx="1720023" cy="840333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97408" algn="l"/>
              </a:tabLst>
            </a:pPr>
            <a:r>
              <a:rPr lang="en-US" altLang="zh-CN" dirty="0" smtClean="0"/>
              <a:t>	</a:t>
            </a:r>
            <a:endParaRPr lang="en-US" altLang="zh-CN" sz="1800" u="sng" dirty="0">
              <a:solidFill>
                <a:srgbClr val="323937"/>
              </a:solidFill>
              <a:latin typeface="Arial Narrow" pitchFamily="18" charset="0"/>
              <a:cs typeface="Arial Narrow" pitchFamily="18" charset="0"/>
            </a:endParaRPr>
          </a:p>
          <a:p>
            <a:pPr>
              <a:lnSpc>
                <a:spcPts val="2058"/>
              </a:lnSpc>
              <a:tabLst>
                <a:tab pos="597408" algn="l"/>
              </a:tabLst>
            </a:pPr>
            <a:r>
              <a:rPr lang="en-US" altLang="zh-CN" sz="1800" dirty="0">
                <a:solidFill>
                  <a:srgbClr val="800000"/>
                </a:solidFill>
                <a:latin typeface="Wingdings" pitchFamily="18" charset="0"/>
                <a:cs typeface="Wingdings" pitchFamily="18" charset="0"/>
              </a:rPr>
              <a:t></a:t>
            </a:r>
            <a:r>
              <a:rPr lang="en-US" altLang="zh-CN" sz="1800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ово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 err="1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кодекс</a:t>
            </a:r>
            <a:endParaRPr lang="en-US" altLang="zh-CN" sz="1800" dirty="0">
              <a:solidFill>
                <a:srgbClr val="323937"/>
              </a:solidFill>
              <a:latin typeface="Arial Narrow" pitchFamily="18" charset="0"/>
              <a:cs typeface="Arial Narrow" pitchFamily="18" charset="0"/>
            </a:endParaRPr>
          </a:p>
          <a:p>
            <a:pPr>
              <a:lnSpc>
                <a:spcPts val="2058"/>
              </a:lnSpc>
              <a:tabLst>
                <a:tab pos="597408" algn="l"/>
              </a:tabLst>
            </a:pP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Ф</a:t>
            </a:r>
          </a:p>
        </p:txBody>
      </p:sp>
      <p:sp>
        <p:nvSpPr>
          <p:cNvPr id="1028" name="TextBox 1"/>
          <p:cNvSpPr txBox="1"/>
          <p:nvPr/>
        </p:nvSpPr>
        <p:spPr>
          <a:xfrm>
            <a:off x="6223221" y="2887745"/>
            <a:ext cx="1795363" cy="2186855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22732" algn="l"/>
              </a:tabLst>
            </a:pPr>
            <a:r>
              <a:rPr lang="en-US" altLang="zh-CN" dirty="0" smtClean="0"/>
              <a:t>	</a:t>
            </a:r>
            <a:endParaRPr lang="en-US" altLang="zh-CN" sz="1800" u="sng" dirty="0">
              <a:solidFill>
                <a:srgbClr val="323937"/>
              </a:solidFill>
              <a:latin typeface="Arial Narrow" pitchFamily="18" charset="0"/>
              <a:cs typeface="Arial Narrow" pitchFamily="18" charset="0"/>
            </a:endParaRPr>
          </a:p>
          <a:p>
            <a:pPr>
              <a:lnSpc>
                <a:spcPts val="2058"/>
              </a:lnSpc>
              <a:tabLst>
                <a:tab pos="522732" algn="l"/>
              </a:tabLst>
            </a:pPr>
            <a:r>
              <a:rPr lang="en-US" altLang="zh-CN" sz="1800" dirty="0">
                <a:solidFill>
                  <a:srgbClr val="800000"/>
                </a:solidFill>
                <a:latin typeface="Wingdings" pitchFamily="18" charset="0"/>
                <a:cs typeface="Wingdings" pitchFamily="18" charset="0"/>
              </a:rPr>
              <a:t></a:t>
            </a: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остановл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</a:t>
            </a:r>
          </a:p>
          <a:p>
            <a:pPr>
              <a:lnSpc>
                <a:spcPts val="2058"/>
              </a:lnSpc>
              <a:tabLst>
                <a:tab pos="522732" algn="l"/>
              </a:tabLst>
            </a:pP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екомендации</a:t>
            </a:r>
          </a:p>
          <a:p>
            <a:pPr>
              <a:lnSpc>
                <a:spcPts val="2058"/>
              </a:lnSpc>
              <a:tabLst>
                <a:tab pos="522732" algn="l"/>
              </a:tabLst>
            </a:pP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равительств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Ф</a:t>
            </a:r>
          </a:p>
          <a:p>
            <a:pPr>
              <a:lnSpc>
                <a:spcPts val="2058"/>
              </a:lnSpc>
              <a:tabLst>
                <a:tab pos="522732" algn="l"/>
              </a:tabLst>
            </a:pPr>
            <a:r>
              <a:rPr lang="en-US" altLang="zh-CN" sz="1800" dirty="0">
                <a:solidFill>
                  <a:srgbClr val="800000"/>
                </a:solidFill>
                <a:latin typeface="Wingdings" pitchFamily="18" charset="0"/>
                <a:cs typeface="Wingdings" pitchFamily="18" charset="0"/>
              </a:rPr>
              <a:t></a:t>
            </a: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риказы</a:t>
            </a:r>
          </a:p>
          <a:p>
            <a:pPr>
              <a:lnSpc>
                <a:spcPts val="2058"/>
              </a:lnSpc>
              <a:tabLst>
                <a:tab pos="522732" algn="l"/>
              </a:tabLst>
            </a:pP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Мин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РФ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и</a:t>
            </a:r>
          </a:p>
          <a:p>
            <a:pPr>
              <a:lnSpc>
                <a:spcPts val="2058"/>
              </a:lnSpc>
              <a:tabLst>
                <a:tab pos="522732" algn="l"/>
              </a:tabLst>
            </a:pP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траслевых</a:t>
            </a:r>
          </a:p>
          <a:p>
            <a:pPr>
              <a:lnSpc>
                <a:spcPts val="2058"/>
              </a:lnSpc>
              <a:tabLst>
                <a:tab pos="522732" algn="l"/>
              </a:tabLst>
            </a:pP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Министерств</a:t>
            </a:r>
          </a:p>
        </p:txBody>
      </p:sp>
      <p:sp>
        <p:nvSpPr>
          <p:cNvPr id="1029" name="TextBox 1"/>
          <p:cNvSpPr txBox="1"/>
          <p:nvPr/>
        </p:nvSpPr>
        <p:spPr>
          <a:xfrm>
            <a:off x="547643" y="634806"/>
            <a:ext cx="5565947" cy="175083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2713228" algn="l"/>
                <a:tab pos="2937256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1.Нормирова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: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законодательные</a:t>
            </a:r>
          </a:p>
          <a:p>
            <a:pPr>
              <a:lnSpc>
                <a:spcPts val="2058"/>
              </a:lnSpc>
              <a:tabLst>
                <a:tab pos="2713228" algn="l"/>
                <a:tab pos="2937256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сновы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058"/>
              </a:lnSpc>
              <a:tabLst>
                <a:tab pos="2713228" algn="l"/>
                <a:tab pos="2937256" algn="l"/>
              </a:tabLst>
            </a:pPr>
            <a:r>
              <a:rPr lang="en-US" altLang="zh-CN" dirty="0" smtClean="0"/>
              <a:t>		</a:t>
            </a: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Законодательна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баз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</a:t>
            </a:r>
          </a:p>
          <a:p>
            <a:pPr>
              <a:lnSpc>
                <a:spcPts val="2058"/>
              </a:lnSpc>
              <a:tabLst>
                <a:tab pos="2713228" algn="l"/>
                <a:tab pos="293725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бласт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иро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а</a:t>
            </a:r>
          </a:p>
        </p:txBody>
      </p:sp>
      <p:sp>
        <p:nvSpPr>
          <p:cNvPr id="1030" name="TextBox 1"/>
          <p:cNvSpPr txBox="1"/>
          <p:nvPr/>
        </p:nvSpPr>
        <p:spPr>
          <a:xfrm>
            <a:off x="2775557" y="2912639"/>
            <a:ext cx="3565079" cy="2905001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846328" algn="l"/>
                <a:tab pos="1443736" algn="l"/>
              </a:tabLst>
            </a:pPr>
            <a:r>
              <a:rPr lang="en-US" altLang="zh-CN" dirty="0" smtClean="0"/>
              <a:t>		</a:t>
            </a:r>
            <a:endParaRPr lang="en-US" altLang="zh-CN" sz="1800" u="sng" dirty="0">
              <a:solidFill>
                <a:srgbClr val="323937"/>
              </a:solidFill>
              <a:latin typeface="Arial Narrow" pitchFamily="18" charset="0"/>
              <a:cs typeface="Arial Narrow" pitchFamily="18" charset="0"/>
            </a:endParaRPr>
          </a:p>
          <a:p>
            <a:pPr>
              <a:lnSpc>
                <a:spcPts val="2058"/>
              </a:lnSpc>
              <a:tabLst>
                <a:tab pos="846328" algn="l"/>
                <a:tab pos="14437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800000"/>
                </a:solidFill>
                <a:latin typeface="Wingdings" pitchFamily="18" charset="0"/>
                <a:cs typeface="Wingdings" pitchFamily="18" charset="0"/>
              </a:rPr>
              <a:t></a:t>
            </a: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олож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б</a:t>
            </a:r>
          </a:p>
          <a:p>
            <a:pPr>
              <a:lnSpc>
                <a:spcPts val="2058"/>
              </a:lnSpc>
              <a:tabLst>
                <a:tab pos="846328" algn="l"/>
                <a:tab pos="14437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рганизации</a:t>
            </a:r>
          </a:p>
          <a:p>
            <a:pPr>
              <a:lnSpc>
                <a:spcPts val="2058"/>
              </a:lnSpc>
              <a:tabLst>
                <a:tab pos="846328" algn="l"/>
                <a:tab pos="14437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иро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труда</a:t>
            </a:r>
          </a:p>
          <a:p>
            <a:pPr>
              <a:lnSpc>
                <a:spcPts val="2058"/>
              </a:lnSpc>
              <a:tabLst>
                <a:tab pos="846328" algn="l"/>
                <a:tab pos="14437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ародном</a:t>
            </a:r>
          </a:p>
          <a:p>
            <a:pPr>
              <a:lnSpc>
                <a:spcPts val="2058"/>
              </a:lnSpc>
              <a:tabLst>
                <a:tab pos="846328" algn="l"/>
                <a:tab pos="14437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хозяйстве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842"/>
              </a:lnSpc>
              <a:tabLst>
                <a:tab pos="846328" algn="l"/>
                <a:tab pos="1443736" algn="l"/>
              </a:tabLst>
            </a:pP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Локаль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норматив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материалы</a:t>
            </a:r>
          </a:p>
        </p:txBody>
      </p:sp>
    </p:spTree>
    <p:extLst>
      <p:ext uri="{BB962C8B-B14F-4D97-AF65-F5344CB8AC3E}">
        <p14:creationId xmlns:p14="http://schemas.microsoft.com/office/powerpoint/2010/main" val="4051947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62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609876" y="647253"/>
            <a:ext cx="6628994" cy="380268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2688336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2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снов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ложения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352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	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СНОВНЫЕ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ОЛОЖЕНИЯ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156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4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ста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держа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ю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</a:p>
          <a:p>
            <a:pPr>
              <a:lnSpc>
                <a:spcPts val="2058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сударственн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муниципальном)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и</a:t>
            </a:r>
          </a:p>
          <a:p>
            <a:pPr>
              <a:lnSpc>
                <a:spcPts val="2058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ределяю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основным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функциям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800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2058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800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задачам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труд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роцессо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аботников</a:t>
            </a:r>
          </a:p>
          <a:p>
            <a:pPr>
              <a:lnSpc>
                <a:spcPts val="2058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ределенн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онн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ически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ях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</a:t>
            </a:r>
          </a:p>
          <a:p>
            <a:pPr>
              <a:lnSpc>
                <a:spcPts val="2058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акж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ешение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задач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еративно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2058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дач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вязанн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едение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следовани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ли</a:t>
            </a:r>
          </a:p>
          <a:p>
            <a:pPr>
              <a:lnSpc>
                <a:spcPts val="2058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ны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опроса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фер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.</a:t>
            </a:r>
          </a:p>
        </p:txBody>
      </p:sp>
    </p:spTree>
    <p:extLst>
      <p:ext uri="{BB962C8B-B14F-4D97-AF65-F5344CB8AC3E}">
        <p14:creationId xmlns:p14="http://schemas.microsoft.com/office/powerpoint/2010/main" val="2412661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63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609875" y="647253"/>
            <a:ext cx="6769097" cy="380268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2688336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2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снов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ложения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352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	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СНОВНЫЕ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ОЛОЖЕНИЯ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156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5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ветственнос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стоя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</a:p>
          <a:p>
            <a:pPr>
              <a:lnSpc>
                <a:spcPts val="2058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и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воевременно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ед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онно-</a:t>
            </a:r>
          </a:p>
          <a:p>
            <a:pPr>
              <a:lnSpc>
                <a:spcPts val="2058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ически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роприятий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недр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циональных</a:t>
            </a:r>
          </a:p>
          <a:p>
            <a:pPr>
              <a:lnSpc>
                <a:spcPts val="2058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онных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ологически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цессов,</a:t>
            </a:r>
          </a:p>
          <a:p>
            <a:pPr>
              <a:lnSpc>
                <a:spcPts val="2058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лучш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озлагае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</a:p>
          <a:p>
            <a:pPr>
              <a:lnSpc>
                <a:spcPts val="2058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уководител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учрежд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л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е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ручению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дного</a:t>
            </a:r>
          </a:p>
          <a:p>
            <a:pPr>
              <a:lnSpc>
                <a:spcPts val="2058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з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заместителе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уководителя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урирующе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опросы</a:t>
            </a:r>
          </a:p>
          <a:p>
            <a:pPr>
              <a:lnSpc>
                <a:spcPts val="2058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.</a:t>
            </a:r>
          </a:p>
        </p:txBody>
      </p:sp>
    </p:spTree>
    <p:extLst>
      <p:ext uri="{BB962C8B-B14F-4D97-AF65-F5344CB8AC3E}">
        <p14:creationId xmlns:p14="http://schemas.microsoft.com/office/powerpoint/2010/main" val="3498585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64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609876" y="622359"/>
            <a:ext cx="6932347" cy="3264073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2688336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2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снов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ложения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352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	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ОСНОВНЫЕ</a:t>
            </a:r>
            <a:r>
              <a:rPr lang="en-US" altLang="zh-CN" sz="17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ПОЛОЖЕНИЯ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156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6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у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озложи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</a:p>
          <a:p>
            <a:pPr>
              <a:lnSpc>
                <a:spcPts val="2058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пециализированно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руктурно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драздел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службу)</a:t>
            </a:r>
          </a:p>
          <a:p>
            <a:pPr>
              <a:lnSpc>
                <a:spcPts val="2058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ю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е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сутств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руктурное</a:t>
            </a:r>
          </a:p>
          <a:p>
            <a:pPr>
              <a:lnSpc>
                <a:spcPts val="2058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дразделение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еден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о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ходя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опросы</a:t>
            </a:r>
          </a:p>
          <a:p>
            <a:pPr>
              <a:lnSpc>
                <a:spcPts val="2058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адрово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еспеч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еятельност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я,</a:t>
            </a:r>
          </a:p>
          <a:p>
            <a:pPr>
              <a:lnSpc>
                <a:spcPts val="2058"/>
              </a:lnSpc>
              <a:tabLst>
                <a:tab pos="584962" algn="l"/>
                <a:tab pos="2688336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работно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латы.</a:t>
            </a:r>
          </a:p>
        </p:txBody>
      </p:sp>
    </p:spTree>
    <p:extLst>
      <p:ext uri="{BB962C8B-B14F-4D97-AF65-F5344CB8AC3E}">
        <p14:creationId xmlns:p14="http://schemas.microsoft.com/office/powerpoint/2010/main" val="45501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65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1194859" y="2190703"/>
            <a:ext cx="6383927" cy="2674168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7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атываю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менительн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ологически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трудовым)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цесса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онно-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ически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я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ьзуемо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орудова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1862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атериалы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олог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тоди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ругие</a:t>
            </a:r>
          </a:p>
          <a:p>
            <a:pPr>
              <a:lnSpc>
                <a:spcPts val="1862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онно-техническ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акторы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огут</a:t>
            </a:r>
          </a:p>
          <a:p>
            <a:pPr>
              <a:lnSpc>
                <a:spcPts val="2058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ущественн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влият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еличину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х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и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обходимо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итыва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гламентирован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рывы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характеристики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яем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ционально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дел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операцию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535229"/>
            <a:ext cx="4198072" cy="57102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екомендуем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дход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</p:txBody>
      </p:sp>
    </p:spTree>
    <p:extLst>
      <p:ext uri="{BB962C8B-B14F-4D97-AF65-F5344CB8AC3E}">
        <p14:creationId xmlns:p14="http://schemas.microsoft.com/office/powerpoint/2010/main" val="215695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66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1194859" y="2190703"/>
            <a:ext cx="6510180" cy="259722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666"/>
              </a:lnSpc>
              <a:tabLst>
                <a:tab pos="348488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8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держание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и</a:t>
            </a:r>
          </a:p>
          <a:p>
            <a:pPr>
              <a:lnSpc>
                <a:spcPts val="1862"/>
              </a:lnSpc>
              <a:tabLst>
                <a:tab pos="348488" algn="l"/>
              </a:tabLst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являются:</a:t>
            </a:r>
          </a:p>
          <a:p>
            <a:pPr>
              <a:lnSpc>
                <a:spcPts val="1862"/>
              </a:lnSpc>
              <a:tabLst>
                <a:tab pos="348488" algn="l"/>
              </a:tabLst>
            </a:pPr>
            <a:r>
              <a:rPr lang="en-US" altLang="zh-CN" dirty="0" smtClean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нализ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ово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цесс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ндарт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казания</a:t>
            </a:r>
          </a:p>
          <a:p>
            <a:pPr>
              <a:lnSpc>
                <a:spcPts val="1568"/>
              </a:lnSpc>
              <a:tabLst>
                <a:tab pos="348488" algn="l"/>
              </a:tabLst>
            </a:pPr>
            <a:r>
              <a:rPr lang="en-US" altLang="zh-CN" sz="1600" dirty="0"/>
              <a:t>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сударственно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муниципальной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уг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деле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е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асти;</a:t>
            </a:r>
          </a:p>
          <a:p>
            <a:pPr>
              <a:lnSpc>
                <a:spcPts val="1568"/>
              </a:lnSpc>
              <a:tabLst>
                <a:tab pos="348488" algn="l"/>
              </a:tabLst>
            </a:pPr>
            <a:r>
              <a:rPr lang="en-US" altLang="zh-CN" sz="1600" dirty="0"/>
              <a:t>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бор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тимально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ариант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олог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,</a:t>
            </a:r>
          </a:p>
          <a:p>
            <a:pPr>
              <a:lnSpc>
                <a:spcPts val="1568"/>
              </a:lnSpc>
              <a:tabLst>
                <a:tab pos="348488" algn="l"/>
              </a:tabLst>
            </a:pPr>
            <a:r>
              <a:rPr lang="en-US" altLang="zh-CN" sz="1600" dirty="0"/>
              <a:t>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ффектив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тодо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емо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;</a:t>
            </a:r>
          </a:p>
          <a:p>
            <a:pPr>
              <a:lnSpc>
                <a:spcPts val="1568"/>
              </a:lnSpc>
              <a:tabLst>
                <a:tab pos="348488" algn="l"/>
              </a:tabLst>
            </a:pPr>
            <a:r>
              <a:rPr lang="en-US" altLang="zh-CN" sz="1600" dirty="0"/>
              <a:t>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ектирова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жимо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емо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тодо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,</a:t>
            </a:r>
          </a:p>
          <a:p>
            <a:pPr>
              <a:lnSpc>
                <a:spcPts val="1568"/>
              </a:lnSpc>
              <a:tabLst>
                <a:tab pos="348488" algn="l"/>
              </a:tabLst>
            </a:pPr>
            <a:r>
              <a:rPr lang="en-US" altLang="zh-CN" sz="1600" dirty="0"/>
              <a:t>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исте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служи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и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ст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жимо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дыха;</a:t>
            </a:r>
          </a:p>
          <a:p>
            <a:pPr>
              <a:lnSpc>
                <a:spcPts val="1568"/>
              </a:lnSpc>
              <a:tabLst>
                <a:tab pos="348488" algn="l"/>
              </a:tabLst>
            </a:pPr>
            <a:r>
              <a:rPr lang="en-US" altLang="zh-CN" sz="1600" dirty="0"/>
              <a:t>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ределе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ответств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обенностями</a:t>
            </a:r>
          </a:p>
          <a:p>
            <a:pPr>
              <a:lnSpc>
                <a:spcPts val="1568"/>
              </a:lnSpc>
              <a:tabLst>
                <a:tab pos="348488" algn="l"/>
              </a:tabLst>
            </a:pPr>
            <a:r>
              <a:rPr lang="en-US" altLang="zh-CN" sz="1600" dirty="0"/>
              <a:t>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ологическо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ово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цессов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недре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1568"/>
              </a:lnSpc>
              <a:tabLst>
                <a:tab pos="348488" algn="l"/>
              </a:tabLst>
            </a:pPr>
            <a:r>
              <a:rPr lang="en-US" altLang="zh-CN" sz="1600" dirty="0"/>
              <a:t>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следующа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рректировк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р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змен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онно-</a:t>
            </a:r>
          </a:p>
          <a:p>
            <a:pPr>
              <a:lnSpc>
                <a:spcPts val="1568"/>
              </a:lnSpc>
              <a:tabLst>
                <a:tab pos="348488" algn="l"/>
              </a:tabLst>
            </a:pPr>
            <a:r>
              <a:rPr lang="en-US" altLang="zh-CN" sz="1600" dirty="0"/>
              <a:t>	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ически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й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535229"/>
            <a:ext cx="4198072" cy="57102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екомендуем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дход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</p:txBody>
      </p:sp>
    </p:spTree>
    <p:extLst>
      <p:ext uri="{BB962C8B-B14F-4D97-AF65-F5344CB8AC3E}">
        <p14:creationId xmlns:p14="http://schemas.microsoft.com/office/powerpoint/2010/main" val="2036949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897663" y="1814548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67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958376" y="2165809"/>
            <a:ext cx="3762248" cy="2443336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470"/>
              </a:lnSpc>
            </a:pP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9.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ьзовать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err="1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е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altLang="zh-CN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ts val="1470"/>
              </a:lnSpc>
            </a:pP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altLang="zh-CN" dirty="0" err="1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жотраслевые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,</a:t>
            </a:r>
            <a:r>
              <a:rPr lang="ru-RU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err="1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е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,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фессиональные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ные)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err="1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altLang="zh-CN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ts val="1470"/>
              </a:lnSpc>
            </a:pPr>
            <a:r>
              <a:rPr lang="en-US" altLang="zh-CN" dirty="0" err="1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ные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err="1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льными</a:t>
            </a:r>
            <a:r>
              <a:rPr lang="ru-RU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err="1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ами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нительной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ласти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err="1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ответствии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altLang="zh-CN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ts val="1470"/>
              </a:lnSpc>
            </a:pP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err="1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становлением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err="1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авительства</a:t>
            </a:r>
            <a:r>
              <a:rPr lang="ru-RU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err="1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оссийской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ции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1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ября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002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.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altLang="zh-CN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ts val="1470"/>
              </a:lnSpc>
            </a:pP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№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804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«О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авилах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err="1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и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ru-RU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err="1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ия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»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altLang="zh-CN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ts val="1470"/>
              </a:lnSpc>
            </a:pP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далее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е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).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254"/>
              </a:lnSpc>
            </a:pP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0.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е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огут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ыть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ы:</a:t>
            </a:r>
          </a:p>
          <a:p>
            <a:pPr>
              <a:lnSpc>
                <a:spcPts val="1568"/>
              </a:lnSpc>
            </a:pP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;</a:t>
            </a:r>
          </a:p>
          <a:p>
            <a:pPr>
              <a:lnSpc>
                <a:spcPts val="1568"/>
              </a:lnSpc>
            </a:pP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служивания;</a:t>
            </a:r>
          </a:p>
          <a:p>
            <a:pPr>
              <a:lnSpc>
                <a:spcPts val="1568"/>
              </a:lnSpc>
            </a:pP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исленности;</a:t>
            </a:r>
          </a:p>
          <a:p>
            <a:pPr>
              <a:lnSpc>
                <a:spcPts val="1568"/>
              </a:lnSpc>
            </a:pP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dirty="0" smtClean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правляемости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535229"/>
            <a:ext cx="4198072" cy="57102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екомендуем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дход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</p:txBody>
      </p:sp>
    </p:spTree>
    <p:extLst>
      <p:ext uri="{BB962C8B-B14F-4D97-AF65-F5344CB8AC3E}">
        <p14:creationId xmlns:p14="http://schemas.microsoft.com/office/powerpoint/2010/main" val="1971423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68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958376" y="2203150"/>
            <a:ext cx="7309245" cy="3264073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1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ьзую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мплексно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основан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тра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днородных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менительн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ологически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трудовым)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цесса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онно-технически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я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х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ответствующе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кономики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впадении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им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онно-технологически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и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ьзова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.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налогично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ш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нимать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есл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меющиеся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лич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онно-технологически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я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огут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ущественн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влия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еличину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ш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начимост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личи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нимае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ет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нения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ставительно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ов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535229"/>
            <a:ext cx="4198072" cy="57102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екомендуем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дход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</p:txBody>
      </p:sp>
    </p:spTree>
    <p:extLst>
      <p:ext uri="{BB962C8B-B14F-4D97-AF65-F5344CB8AC3E}">
        <p14:creationId xmlns:p14="http://schemas.microsoft.com/office/powerpoint/2010/main" val="925192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69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958376" y="2153361"/>
            <a:ext cx="7248844" cy="1648246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2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здан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оле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грессивн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онно-технических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л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соответств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равнению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тенным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дготовк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ьзовать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ачеств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аз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основании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уте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рректировк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ет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актических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онно-технологически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и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535229"/>
            <a:ext cx="4198072" cy="57102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екомендуем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дход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</p:txBody>
      </p:sp>
    </p:spTree>
    <p:extLst>
      <p:ext uri="{BB962C8B-B14F-4D97-AF65-F5344CB8AC3E}">
        <p14:creationId xmlns:p14="http://schemas.microsoft.com/office/powerpoint/2010/main" val="221199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70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958376" y="2178256"/>
            <a:ext cx="7163499" cy="219967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348488" algn="l"/>
              </a:tabLst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ланирован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р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вышению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ффективност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казания</a:t>
            </a:r>
          </a:p>
          <a:p>
            <a:pPr>
              <a:lnSpc>
                <a:spcPts val="2058"/>
              </a:lnSpc>
              <a:tabLst>
                <a:tab pos="348488" algn="l"/>
              </a:tabLst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сударственн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муниципальных)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уг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</a:p>
          <a:p>
            <a:pPr>
              <a:lnSpc>
                <a:spcPts val="2058"/>
              </a:lnSpc>
              <a:tabLst>
                <a:tab pos="348488" algn="l"/>
              </a:tabLst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ьзова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ачеств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алона:</a:t>
            </a:r>
          </a:p>
          <a:p>
            <a:pPr>
              <a:lnSpc>
                <a:spcPts val="1568"/>
              </a:lnSpc>
              <a:tabLst>
                <a:tab pos="348488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я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д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онно-технически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я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иж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ровня,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</a:p>
          <a:p>
            <a:pPr>
              <a:lnSpc>
                <a:spcPts val="1568"/>
              </a:lnSpc>
              <a:tabLst>
                <a:tab pos="348488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ый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н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ссчитаны;</a:t>
            </a:r>
          </a:p>
          <a:p>
            <a:pPr>
              <a:lnSpc>
                <a:spcPts val="1568"/>
              </a:lnSpc>
              <a:tabLst>
                <a:tab pos="348488" algn="l"/>
              </a:tabLst>
            </a:pPr>
            <a:r>
              <a:rPr lang="en-US" altLang="zh-CN" dirty="0" smtClean="0"/>
              <a:t>	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пр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следовани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трат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е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нализе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терь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его</a:t>
            </a:r>
            <a:r>
              <a:rPr lang="en-US" altLang="zh-CN" sz="1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.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744"/>
              </a:lnSpc>
              <a:tabLst>
                <a:tab pos="348488" algn="l"/>
              </a:tabLst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сл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нят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ответствующи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р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лжн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ыть</a:t>
            </a:r>
          </a:p>
          <a:p>
            <a:pPr>
              <a:lnSpc>
                <a:spcPts val="2058"/>
              </a:lnSpc>
              <a:tabLst>
                <a:tab pos="348488" algn="l"/>
              </a:tabLst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отрены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535229"/>
            <a:ext cx="4198072" cy="57102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екомендуем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дход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</p:txBody>
      </p:sp>
    </p:spTree>
    <p:extLst>
      <p:ext uri="{BB962C8B-B14F-4D97-AF65-F5344CB8AC3E}">
        <p14:creationId xmlns:p14="http://schemas.microsoft.com/office/powerpoint/2010/main" val="713459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71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958376" y="2178256"/>
            <a:ext cx="7114576" cy="2353568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4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сутств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дельны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лжностям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профессия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их)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ида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функциям)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ответствующие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атываю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етом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аци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шестояще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иб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влечением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нешни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пециалисто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н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рядке.</a:t>
            </a:r>
          </a:p>
          <a:p>
            <a:pPr>
              <a:lnSpc>
                <a:spcPts val="1862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еден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казанно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иентировать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</a:p>
          <a:p>
            <a:pPr>
              <a:lnSpc>
                <a:spcPts val="1862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тодическ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ац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ль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о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нительной</a:t>
            </a:r>
          </a:p>
          <a:p>
            <a:pPr>
              <a:lnSpc>
                <a:spcPts val="1862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ла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ные</a:t>
            </a:r>
          </a:p>
          <a:p>
            <a:pPr>
              <a:lnSpc>
                <a:spcPts val="1862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казо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ин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осс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1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а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013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№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35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535229"/>
            <a:ext cx="4198072" cy="57102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екомендуем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дход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</p:txBody>
      </p:sp>
    </p:spTree>
    <p:extLst>
      <p:ext uri="{BB962C8B-B14F-4D97-AF65-F5344CB8AC3E}">
        <p14:creationId xmlns:p14="http://schemas.microsoft.com/office/powerpoint/2010/main" val="2798038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98985" y="1173146"/>
            <a:ext cx="7903552" cy="4586784"/>
          </a:xfrm>
          <a:custGeom>
            <a:avLst/>
            <a:gdLst>
              <a:gd name="connsiteX0" fmla="*/ 0 w 8064563"/>
              <a:gd name="connsiteY0" fmla="*/ 780033 h 4679950"/>
              <a:gd name="connsiteX1" fmla="*/ 779970 w 8064563"/>
              <a:gd name="connsiteY1" fmla="*/ 0 h 4679950"/>
              <a:gd name="connsiteX2" fmla="*/ 779970 w 8064563"/>
              <a:gd name="connsiteY2" fmla="*/ 0 h 4679950"/>
              <a:gd name="connsiteX3" fmla="*/ 779970 w 8064563"/>
              <a:gd name="connsiteY3" fmla="*/ 0 h 4679950"/>
              <a:gd name="connsiteX4" fmla="*/ 7284529 w 8064563"/>
              <a:gd name="connsiteY4" fmla="*/ 0 h 4679950"/>
              <a:gd name="connsiteX5" fmla="*/ 7284529 w 8064563"/>
              <a:gd name="connsiteY5" fmla="*/ 0 h 4679950"/>
              <a:gd name="connsiteX6" fmla="*/ 8064436 w 8064563"/>
              <a:gd name="connsiteY6" fmla="*/ 780033 h 4679950"/>
              <a:gd name="connsiteX7" fmla="*/ 8064436 w 8064563"/>
              <a:gd name="connsiteY7" fmla="*/ 780033 h 4679950"/>
              <a:gd name="connsiteX8" fmla="*/ 8064436 w 8064563"/>
              <a:gd name="connsiteY8" fmla="*/ 780033 h 4679950"/>
              <a:gd name="connsiteX9" fmla="*/ 8064563 w 8064563"/>
              <a:gd name="connsiteY9" fmla="*/ 3899915 h 4679950"/>
              <a:gd name="connsiteX10" fmla="*/ 8064563 w 8064563"/>
              <a:gd name="connsiteY10" fmla="*/ 3899915 h 4679950"/>
              <a:gd name="connsiteX11" fmla="*/ 7284529 w 8064563"/>
              <a:gd name="connsiteY11" fmla="*/ 4679950 h 4679950"/>
              <a:gd name="connsiteX12" fmla="*/ 7284529 w 8064563"/>
              <a:gd name="connsiteY12" fmla="*/ 4679950 h 4679950"/>
              <a:gd name="connsiteX13" fmla="*/ 7284529 w 8064563"/>
              <a:gd name="connsiteY13" fmla="*/ 4679950 h 4679950"/>
              <a:gd name="connsiteX14" fmla="*/ 779970 w 8064563"/>
              <a:gd name="connsiteY14" fmla="*/ 4679950 h 4679950"/>
              <a:gd name="connsiteX15" fmla="*/ 779970 w 8064563"/>
              <a:gd name="connsiteY15" fmla="*/ 4679950 h 4679950"/>
              <a:gd name="connsiteX16" fmla="*/ 0 w 8064563"/>
              <a:gd name="connsiteY16" fmla="*/ 3899915 h 4679950"/>
              <a:gd name="connsiteX17" fmla="*/ 0 w 8064563"/>
              <a:gd name="connsiteY17" fmla="*/ 3899915 h 4679950"/>
              <a:gd name="connsiteX18" fmla="*/ 0 w 8064563"/>
              <a:gd name="connsiteY18" fmla="*/ 780033 h 467995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8064563" h="4679950">
                <a:moveTo>
                  <a:pt x="0" y="780033"/>
                </a:moveTo>
                <a:cubicBezTo>
                  <a:pt x="0" y="349250"/>
                  <a:pt x="349224" y="0"/>
                  <a:pt x="779970" y="0"/>
                </a:cubicBezTo>
                <a:cubicBezTo>
                  <a:pt x="779970" y="0"/>
                  <a:pt x="779970" y="0"/>
                  <a:pt x="779970" y="0"/>
                </a:cubicBezTo>
                <a:lnTo>
                  <a:pt x="779970" y="0"/>
                </a:lnTo>
                <a:lnTo>
                  <a:pt x="7284529" y="0"/>
                </a:lnTo>
                <a:lnTo>
                  <a:pt x="7284529" y="0"/>
                </a:lnTo>
                <a:cubicBezTo>
                  <a:pt x="7715313" y="0"/>
                  <a:pt x="8064436" y="349250"/>
                  <a:pt x="8064436" y="780033"/>
                </a:cubicBezTo>
                <a:cubicBezTo>
                  <a:pt x="8064436" y="780033"/>
                  <a:pt x="8064436" y="780033"/>
                  <a:pt x="8064436" y="780033"/>
                </a:cubicBezTo>
                <a:lnTo>
                  <a:pt x="8064436" y="780033"/>
                </a:lnTo>
                <a:lnTo>
                  <a:pt x="8064563" y="3899915"/>
                </a:lnTo>
                <a:lnTo>
                  <a:pt x="8064563" y="3899915"/>
                </a:lnTo>
                <a:cubicBezTo>
                  <a:pt x="8064563" y="4330700"/>
                  <a:pt x="7715313" y="4679950"/>
                  <a:pt x="7284529" y="4679950"/>
                </a:cubicBezTo>
                <a:cubicBezTo>
                  <a:pt x="7284529" y="4679950"/>
                  <a:pt x="7284529" y="4679950"/>
                  <a:pt x="7284529" y="4679950"/>
                </a:cubicBezTo>
                <a:lnTo>
                  <a:pt x="7284529" y="4679950"/>
                </a:lnTo>
                <a:lnTo>
                  <a:pt x="779970" y="4679950"/>
                </a:lnTo>
                <a:lnTo>
                  <a:pt x="779970" y="4679950"/>
                </a:lnTo>
                <a:cubicBezTo>
                  <a:pt x="349224" y="4679950"/>
                  <a:pt x="0" y="4330700"/>
                  <a:pt x="0" y="3899915"/>
                </a:cubicBezTo>
                <a:cubicBezTo>
                  <a:pt x="0" y="3899915"/>
                  <a:pt x="0" y="3899915"/>
                  <a:pt x="0" y="3899915"/>
                </a:cubicBezTo>
                <a:lnTo>
                  <a:pt x="0" y="780033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75649" y="1925951"/>
            <a:ext cx="7550149" cy="3545329"/>
          </a:xfrm>
          <a:custGeom>
            <a:avLst/>
            <a:gdLst>
              <a:gd name="connsiteX0" fmla="*/ 0 w 7703960"/>
              <a:gd name="connsiteY0" fmla="*/ 602869 h 3617341"/>
              <a:gd name="connsiteX1" fmla="*/ 602881 w 7703960"/>
              <a:gd name="connsiteY1" fmla="*/ 0 h 3617341"/>
              <a:gd name="connsiteX2" fmla="*/ 602881 w 7703960"/>
              <a:gd name="connsiteY2" fmla="*/ 0 h 3617341"/>
              <a:gd name="connsiteX3" fmla="*/ 602881 w 7703960"/>
              <a:gd name="connsiteY3" fmla="*/ 0 h 3617341"/>
              <a:gd name="connsiteX4" fmla="*/ 7101090 w 7703960"/>
              <a:gd name="connsiteY4" fmla="*/ 0 h 3617341"/>
              <a:gd name="connsiteX5" fmla="*/ 7101090 w 7703960"/>
              <a:gd name="connsiteY5" fmla="*/ 0 h 3617341"/>
              <a:gd name="connsiteX6" fmla="*/ 7703959 w 7703960"/>
              <a:gd name="connsiteY6" fmla="*/ 602869 h 3617341"/>
              <a:gd name="connsiteX7" fmla="*/ 7703959 w 7703960"/>
              <a:gd name="connsiteY7" fmla="*/ 602869 h 3617341"/>
              <a:gd name="connsiteX8" fmla="*/ 7703959 w 7703960"/>
              <a:gd name="connsiteY8" fmla="*/ 602869 h 3617341"/>
              <a:gd name="connsiteX9" fmla="*/ 7703959 w 7703960"/>
              <a:gd name="connsiteY9" fmla="*/ 3014472 h 3617341"/>
              <a:gd name="connsiteX10" fmla="*/ 7703959 w 7703960"/>
              <a:gd name="connsiteY10" fmla="*/ 3014472 h 3617341"/>
              <a:gd name="connsiteX11" fmla="*/ 7101090 w 7703960"/>
              <a:gd name="connsiteY11" fmla="*/ 3617341 h 3617341"/>
              <a:gd name="connsiteX12" fmla="*/ 7101090 w 7703960"/>
              <a:gd name="connsiteY12" fmla="*/ 3617341 h 3617341"/>
              <a:gd name="connsiteX13" fmla="*/ 7101090 w 7703960"/>
              <a:gd name="connsiteY13" fmla="*/ 3617341 h 3617341"/>
              <a:gd name="connsiteX14" fmla="*/ 602881 w 7703960"/>
              <a:gd name="connsiteY14" fmla="*/ 3617341 h 3617341"/>
              <a:gd name="connsiteX15" fmla="*/ 602881 w 7703960"/>
              <a:gd name="connsiteY15" fmla="*/ 3617341 h 3617341"/>
              <a:gd name="connsiteX16" fmla="*/ 0 w 7703960"/>
              <a:gd name="connsiteY16" fmla="*/ 3014472 h 3617341"/>
              <a:gd name="connsiteX17" fmla="*/ 0 w 7703960"/>
              <a:gd name="connsiteY17" fmla="*/ 3014472 h 3617341"/>
              <a:gd name="connsiteX18" fmla="*/ 0 w 7703960"/>
              <a:gd name="connsiteY18" fmla="*/ 602869 h 3617341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703960" h="3617341">
                <a:moveTo>
                  <a:pt x="0" y="602869"/>
                </a:moveTo>
                <a:cubicBezTo>
                  <a:pt x="0" y="269875"/>
                  <a:pt x="269925" y="0"/>
                  <a:pt x="602881" y="0"/>
                </a:cubicBezTo>
                <a:cubicBezTo>
                  <a:pt x="602881" y="0"/>
                  <a:pt x="602881" y="0"/>
                  <a:pt x="602881" y="0"/>
                </a:cubicBezTo>
                <a:lnTo>
                  <a:pt x="602881" y="0"/>
                </a:lnTo>
                <a:lnTo>
                  <a:pt x="7101090" y="0"/>
                </a:lnTo>
                <a:lnTo>
                  <a:pt x="7101090" y="0"/>
                </a:lnTo>
                <a:cubicBezTo>
                  <a:pt x="7434084" y="0"/>
                  <a:pt x="7703959" y="269875"/>
                  <a:pt x="7703959" y="602869"/>
                </a:cubicBezTo>
                <a:cubicBezTo>
                  <a:pt x="7703959" y="602869"/>
                  <a:pt x="7703959" y="602869"/>
                  <a:pt x="7703959" y="602869"/>
                </a:cubicBezTo>
                <a:lnTo>
                  <a:pt x="7703959" y="602869"/>
                </a:lnTo>
                <a:lnTo>
                  <a:pt x="7703959" y="3014472"/>
                </a:lnTo>
                <a:lnTo>
                  <a:pt x="7703959" y="3014472"/>
                </a:lnTo>
                <a:cubicBezTo>
                  <a:pt x="7703959" y="3347338"/>
                  <a:pt x="7434084" y="3617341"/>
                  <a:pt x="7101090" y="3617341"/>
                </a:cubicBezTo>
                <a:cubicBezTo>
                  <a:pt x="7101090" y="3617341"/>
                  <a:pt x="7101090" y="3617341"/>
                  <a:pt x="7101090" y="3617341"/>
                </a:cubicBezTo>
                <a:lnTo>
                  <a:pt x="7101090" y="3617341"/>
                </a:lnTo>
                <a:lnTo>
                  <a:pt x="602881" y="3617341"/>
                </a:lnTo>
                <a:lnTo>
                  <a:pt x="602881" y="3617341"/>
                </a:lnTo>
                <a:cubicBezTo>
                  <a:pt x="269925" y="3617341"/>
                  <a:pt x="0" y="3347338"/>
                  <a:pt x="0" y="3014472"/>
                </a:cubicBezTo>
                <a:cubicBezTo>
                  <a:pt x="0" y="3014472"/>
                  <a:pt x="0" y="3014472"/>
                  <a:pt x="0" y="3014472"/>
                </a:cubicBezTo>
                <a:lnTo>
                  <a:pt x="0" y="602869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37402" y="6410296"/>
            <a:ext cx="51296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8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634806"/>
            <a:ext cx="6813853" cy="3571850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1829562" algn="l"/>
                <a:tab pos="2650998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1.Нормирова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:</a:t>
            </a:r>
          </a:p>
          <a:p>
            <a:pPr>
              <a:lnSpc>
                <a:spcPts val="2058"/>
              </a:lnSpc>
              <a:tabLst>
                <a:tab pos="584962" algn="l"/>
                <a:tab pos="1829562" algn="l"/>
                <a:tab pos="2650998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законодатель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сновы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3136"/>
              </a:lnSpc>
              <a:tabLst>
                <a:tab pos="584962" algn="l"/>
                <a:tab pos="1829562" algn="l"/>
                <a:tab pos="2650998" algn="l"/>
              </a:tabLst>
            </a:pPr>
            <a:r>
              <a:rPr lang="en-US" altLang="zh-CN" dirty="0" smtClean="0"/>
              <a:t>			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лава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2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К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Ф</a:t>
            </a:r>
          </a:p>
          <a:p>
            <a:pPr>
              <a:lnSpc>
                <a:spcPts val="1862"/>
              </a:lnSpc>
              <a:tabLst>
                <a:tab pos="584962" algn="l"/>
                <a:tab pos="1829562" algn="l"/>
                <a:tab pos="2650998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основн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ть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ю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)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254"/>
              </a:lnSpc>
              <a:tabLst>
                <a:tab pos="584962" algn="l"/>
                <a:tab pos="1829562" algn="l"/>
                <a:tab pos="265099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ть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59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щ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ложения</a:t>
            </a:r>
          </a:p>
          <a:p>
            <a:pPr>
              <a:lnSpc>
                <a:spcPts val="2450"/>
              </a:lnSpc>
              <a:tabLst>
                <a:tab pos="584962" algn="l"/>
                <a:tab pos="1829562" algn="l"/>
                <a:tab pos="265099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ть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60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2450"/>
              </a:lnSpc>
              <a:tabLst>
                <a:tab pos="584962" algn="l"/>
                <a:tab pos="1829562" algn="l"/>
                <a:tab pos="265099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ть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61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2450"/>
              </a:lnSpc>
              <a:tabLst>
                <a:tab pos="584962" algn="l"/>
                <a:tab pos="1829562" algn="l"/>
                <a:tab pos="265099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ть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62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ведение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ме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отр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2450"/>
              </a:lnSpc>
              <a:tabLst>
                <a:tab pos="584962" algn="l"/>
                <a:tab pos="1829562" algn="l"/>
                <a:tab pos="265099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ть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6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еспеч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льн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</a:p>
          <a:p>
            <a:pPr>
              <a:lnSpc>
                <a:spcPts val="2058"/>
              </a:lnSpc>
              <a:tabLst>
                <a:tab pos="584962" algn="l"/>
                <a:tab pos="1829562" algn="l"/>
                <a:tab pos="265099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работки</a:t>
            </a:r>
          </a:p>
        </p:txBody>
      </p:sp>
    </p:spTree>
    <p:extLst>
      <p:ext uri="{BB962C8B-B14F-4D97-AF65-F5344CB8AC3E}">
        <p14:creationId xmlns:p14="http://schemas.microsoft.com/office/powerpoint/2010/main" val="288362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72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958376" y="2203150"/>
            <a:ext cx="7348935" cy="3276897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5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атываем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лжн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ы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ически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основанными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д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ическ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основанным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нимаю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,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налитически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тод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мплексного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осно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еличин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тра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менительн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о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ик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ологии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о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лж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ы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анна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а.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254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6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купк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н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рядк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во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орудования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я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нкурсно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кументации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усматрива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язаннос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ндивидуальных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принимателей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аствующи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нкурсе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одить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равнительны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сче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лия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у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недрения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купаемо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орудования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535229"/>
            <a:ext cx="4198072" cy="57102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екомендуем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дход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</p:txBody>
      </p:sp>
    </p:spTree>
    <p:extLst>
      <p:ext uri="{BB962C8B-B14F-4D97-AF65-F5344CB8AC3E}">
        <p14:creationId xmlns:p14="http://schemas.microsoft.com/office/powerpoint/2010/main" val="1521248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73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958376" y="1991548"/>
            <a:ext cx="6773714" cy="3033241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7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ряду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ми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ным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биль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онно-технически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я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меня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ов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.</a:t>
            </a:r>
          </a:p>
          <a:p>
            <a:pPr>
              <a:lnSpc>
                <a:spcPts val="1862"/>
              </a:lnSpc>
            </a:pPr>
            <a:r>
              <a:rPr lang="en-US" altLang="zh-CN" sz="1600" i="1" u="sng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ные нор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авливаю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иод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во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л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ных</a:t>
            </a:r>
          </a:p>
          <a:p>
            <a:pPr>
              <a:lnSpc>
                <a:spcPts val="1862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сутств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тив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атериало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</a:p>
          <a:p>
            <a:pPr>
              <a:lnSpc>
                <a:spcPts val="1862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.</a:t>
            </a:r>
          </a:p>
          <a:p>
            <a:pPr>
              <a:lnSpc>
                <a:spcPts val="1862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рок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ейств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ставляет: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анных</a:t>
            </a:r>
          </a:p>
          <a:p>
            <a:pPr>
              <a:lnSpc>
                <a:spcPts val="1862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посредственн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сяца;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ан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шестоящей</a:t>
            </a:r>
          </a:p>
          <a:p>
            <a:pPr>
              <a:lnSpc>
                <a:spcPts val="1862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е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оле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сяцев;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ан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ответствующим</a:t>
            </a:r>
          </a:p>
          <a:p>
            <a:pPr>
              <a:lnSpc>
                <a:spcPts val="1862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едеральны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о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нительно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ла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оле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дно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да.</a:t>
            </a:r>
          </a:p>
          <a:p>
            <a:pPr>
              <a:lnSpc>
                <a:spcPts val="1862"/>
              </a:lnSpc>
            </a:pPr>
            <a:r>
              <a:rPr lang="en-US" altLang="zh-CN" sz="1600" i="1" u="sng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овые нор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авливаю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одателе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дельн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ы,</a:t>
            </a:r>
          </a:p>
          <a:p>
            <a:pPr>
              <a:lnSpc>
                <a:spcPts val="1862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сящ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единичны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характер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внеплановые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варийные)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535229"/>
            <a:ext cx="4198072" cy="57102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3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екомендуем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подход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</p:txBody>
      </p:sp>
    </p:spTree>
    <p:extLst>
      <p:ext uri="{BB962C8B-B14F-4D97-AF65-F5344CB8AC3E}">
        <p14:creationId xmlns:p14="http://schemas.microsoft.com/office/powerpoint/2010/main" val="2085543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74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958376" y="1991548"/>
            <a:ext cx="7152407" cy="299476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8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ормализацию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уществля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"</a:t>
            </a:r>
            <a:r>
              <a:rPr lang="en-US" altLang="zh-CN" sz="1800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оложен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систем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</a:p>
          <a:p>
            <a:pPr>
              <a:lnSpc>
                <a:spcPts val="2058"/>
              </a:lnSpc>
            </a:pPr>
            <a:r>
              <a:rPr lang="en-US" altLang="zh-CN" sz="1800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учреждения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"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о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иб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ае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окальны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тивным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кт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ет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н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ставительно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а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ов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иб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ключае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ачеств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дельно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дел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ллективны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говор.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9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е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н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ставительно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ов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уществля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ще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рядк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окальных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тивн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ктов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ответств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овым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конодательств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нимаю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ет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нения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ставительно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ов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522781"/>
            <a:ext cx="4337341" cy="30172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4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Формализац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чреждения</a:t>
            </a:r>
          </a:p>
        </p:txBody>
      </p:sp>
    </p:spTree>
    <p:extLst>
      <p:ext uri="{BB962C8B-B14F-4D97-AF65-F5344CB8AC3E}">
        <p14:creationId xmlns:p14="http://schemas.microsoft.com/office/powerpoint/2010/main" val="4012806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75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958376" y="1991548"/>
            <a:ext cx="8040919" cy="2930649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666"/>
              </a:lnSpc>
            </a:pP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ложе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ключат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ледующ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делы:</a:t>
            </a:r>
          </a:p>
          <a:p>
            <a:pPr>
              <a:lnSpc>
                <a:spcPts val="1568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меняем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.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ложен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анному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делу</a:t>
            </a:r>
          </a:p>
          <a:p>
            <a:pPr>
              <a:lnSpc>
                <a:spcPts val="1568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водятся:</a:t>
            </a:r>
          </a:p>
          <a:p>
            <a:pPr>
              <a:lnSpc>
                <a:spcPts val="1568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сыл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ьзованн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ределен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;</a:t>
            </a:r>
          </a:p>
          <a:p>
            <a:pPr>
              <a:lnSpc>
                <a:spcPts val="1568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мененн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тоди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редел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исленно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о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</a:p>
          <a:p>
            <a:pPr>
              <a:lnSpc>
                <a:spcPts val="1568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исленно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о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служи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</a:p>
          <a:p>
            <a:pPr>
              <a:lnSpc>
                <a:spcPts val="1568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служи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о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есл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одилис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счеты);</a:t>
            </a:r>
          </a:p>
          <a:p>
            <a:pPr>
              <a:lnSpc>
                <a:spcPts val="1568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сче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ррекц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ето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онно-технических</a:t>
            </a:r>
          </a:p>
          <a:p>
            <a:pPr>
              <a:lnSpc>
                <a:spcPts val="1568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есл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одилас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ррекция);</a:t>
            </a:r>
          </a:p>
          <a:p>
            <a:pPr>
              <a:lnSpc>
                <a:spcPts val="1568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тод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пособ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дельны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лжностя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профессиям</a:t>
            </a:r>
          </a:p>
          <a:p>
            <a:pPr>
              <a:lnSpc>
                <a:spcPts val="1568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их)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ида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функциям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торы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сутствую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ипов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;</a:t>
            </a:r>
          </a:p>
          <a:p>
            <a:pPr>
              <a:lnSpc>
                <a:spcPts val="1568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рядок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недр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;</a:t>
            </a:r>
          </a:p>
          <a:p>
            <a:pPr>
              <a:lnSpc>
                <a:spcPts val="1568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рядок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мен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отр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;</a:t>
            </a:r>
          </a:p>
          <a:p>
            <a:pPr>
              <a:lnSpc>
                <a:spcPts val="1568"/>
              </a:lnSpc>
            </a:pP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)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ры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правленн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блюде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i="1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522781"/>
            <a:ext cx="4337341" cy="30172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4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Формализац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чреждения</a:t>
            </a:r>
          </a:p>
        </p:txBody>
      </p:sp>
    </p:spTree>
    <p:extLst>
      <p:ext uri="{BB962C8B-B14F-4D97-AF65-F5344CB8AC3E}">
        <p14:creationId xmlns:p14="http://schemas.microsoft.com/office/powerpoint/2010/main" val="2119060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76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958376" y="2003995"/>
            <a:ext cx="7215758" cy="3533378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0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ключен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ово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говор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лжен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ыть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информирован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луча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ия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е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исленности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ов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говор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а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казывае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е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.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лжен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ы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информирован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оказа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уг)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л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служи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если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н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ему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авливаю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казание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о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т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н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яю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ела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но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ему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должительност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е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;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1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звещаю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недрен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зднее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е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в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сяц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вед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ействие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нижении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шибочн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огу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ы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ведомлен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олее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ротки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рок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ределяемы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ет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н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ставительного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ов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522781"/>
            <a:ext cx="4337341" cy="30172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4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Формализац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чреждения</a:t>
            </a:r>
          </a:p>
        </p:txBody>
      </p:sp>
    </p:spTree>
    <p:extLst>
      <p:ext uri="{BB962C8B-B14F-4D97-AF65-F5344CB8AC3E}">
        <p14:creationId xmlns:p14="http://schemas.microsoft.com/office/powerpoint/2010/main" val="4010427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77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958376" y="2252939"/>
            <a:ext cx="7321684" cy="2738288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орм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звещ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недрен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ределяется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е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амостоятельно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казать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не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ействовавш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в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акторы,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служивш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ание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вед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.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352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д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ведение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ести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нструктаж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уч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о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иболе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ффективны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емам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тода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эт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огу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ы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ьзован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ак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ндивидуальные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а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руппов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орм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едения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522781"/>
            <a:ext cx="4337341" cy="30172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4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Формализац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чреждения</a:t>
            </a:r>
          </a:p>
        </p:txBody>
      </p:sp>
    </p:spTree>
    <p:extLst>
      <p:ext uri="{BB962C8B-B14F-4D97-AF65-F5344CB8AC3E}">
        <p14:creationId xmlns:p14="http://schemas.microsoft.com/office/powerpoint/2010/main" val="3947832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78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958376" y="2003995"/>
            <a:ext cx="7426648" cy="3533378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еден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воению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нализирова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епен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во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ажды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анн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.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воен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вяз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ведение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во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ик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ологии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г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ряду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владение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циональным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емами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а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обходим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обрет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оретически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актически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наний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ед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учения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ов.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воен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идо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стандарто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казания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сударственн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муниципальных)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уг)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л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соответствии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актически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онно-технически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ови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полн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проектированны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нов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водим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меня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правоч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эффициенты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522781"/>
            <a:ext cx="4337341" cy="30172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4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Формализац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чреждения</a:t>
            </a:r>
          </a:p>
        </p:txBody>
      </p:sp>
    </p:spTree>
    <p:extLst>
      <p:ext uri="{BB962C8B-B14F-4D97-AF65-F5344CB8AC3E}">
        <p14:creationId xmlns:p14="http://schemas.microsoft.com/office/powerpoint/2010/main" val="778639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79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958376" y="2003995"/>
            <a:ext cx="7267182" cy="3533378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е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усмотре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ро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отр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же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е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дин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я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i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лет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тога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отр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оже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ы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нят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ш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хранен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н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л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к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.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вед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в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должаю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менять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нее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ные.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аниям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отр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олее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н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рок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огу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служи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ак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акторы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а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недр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вых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ндарто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каз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уг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во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ики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ологии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идов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дукц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услуг).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отр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шибочн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уществляе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р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явления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ет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н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ставительно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ов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522781"/>
            <a:ext cx="4337341" cy="30172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4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Формализац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чреждения</a:t>
            </a:r>
          </a:p>
        </p:txBody>
      </p:sp>
    </p:spTree>
    <p:extLst>
      <p:ext uri="{BB962C8B-B14F-4D97-AF65-F5344CB8AC3E}">
        <p14:creationId xmlns:p14="http://schemas.microsoft.com/office/powerpoint/2010/main" val="794314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80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958376" y="2265386"/>
            <a:ext cx="6942093" cy="3033241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ю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ледующ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ры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правлен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блюдение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н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: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254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ед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нутренне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нтрол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блюдение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ных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н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ж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дно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д);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254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нализ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зультато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зависимо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ценк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ачеств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уг,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казываем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ем;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254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еспеч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соко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ровн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комплектованност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я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сонал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н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не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90%)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522781"/>
            <a:ext cx="4337341" cy="30172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4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Формализац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чреждения</a:t>
            </a:r>
          </a:p>
        </p:txBody>
      </p:sp>
    </p:spTree>
    <p:extLst>
      <p:ext uri="{BB962C8B-B14F-4D97-AF65-F5344CB8AC3E}">
        <p14:creationId xmlns:p14="http://schemas.microsoft.com/office/powerpoint/2010/main" val="266407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81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958376" y="2265386"/>
            <a:ext cx="6942093" cy="3033241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уютс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ледующ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ры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правлен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блюдение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н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: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254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ед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нутренне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нтрол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блюдение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ных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н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ж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дно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д);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254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нализ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зультато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зависимо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ценк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ачеств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уг,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казываем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ем;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254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еспеч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соко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ровн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комплектованност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я</a:t>
            </a:r>
          </a:p>
          <a:p>
            <a:pPr>
              <a:lnSpc>
                <a:spcPts val="2058"/>
              </a:lnSpc>
            </a:pP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сонал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н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не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90%).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522781"/>
            <a:ext cx="4337341" cy="301724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4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Формализац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чреждения</a:t>
            </a:r>
          </a:p>
        </p:txBody>
      </p:sp>
    </p:spTree>
    <p:extLst>
      <p:ext uri="{BB962C8B-B14F-4D97-AF65-F5344CB8AC3E}">
        <p14:creationId xmlns:p14="http://schemas.microsoft.com/office/powerpoint/2010/main" val="3232421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3"/>
          <p:cNvSpPr/>
          <p:nvPr/>
        </p:nvSpPr>
        <p:spPr>
          <a:xfrm>
            <a:off x="670552" y="1031621"/>
            <a:ext cx="7761912" cy="4728308"/>
          </a:xfrm>
          <a:custGeom>
            <a:avLst/>
            <a:gdLst>
              <a:gd name="connsiteX0" fmla="*/ 0 w 7920037"/>
              <a:gd name="connsiteY0" fmla="*/ 804037 h 4824348"/>
              <a:gd name="connsiteX1" fmla="*/ 804100 w 7920037"/>
              <a:gd name="connsiteY1" fmla="*/ 0 h 4824348"/>
              <a:gd name="connsiteX2" fmla="*/ 804100 w 7920037"/>
              <a:gd name="connsiteY2" fmla="*/ 0 h 4824348"/>
              <a:gd name="connsiteX3" fmla="*/ 804100 w 7920037"/>
              <a:gd name="connsiteY3" fmla="*/ 0 h 4824348"/>
              <a:gd name="connsiteX4" fmla="*/ 7116000 w 7920037"/>
              <a:gd name="connsiteY4" fmla="*/ 0 h 4824348"/>
              <a:gd name="connsiteX5" fmla="*/ 7116000 w 7920037"/>
              <a:gd name="connsiteY5" fmla="*/ 0 h 4824348"/>
              <a:gd name="connsiteX6" fmla="*/ 7920037 w 7920037"/>
              <a:gd name="connsiteY6" fmla="*/ 804037 h 4824348"/>
              <a:gd name="connsiteX7" fmla="*/ 7920037 w 7920037"/>
              <a:gd name="connsiteY7" fmla="*/ 804037 h 4824348"/>
              <a:gd name="connsiteX8" fmla="*/ 7920037 w 7920037"/>
              <a:gd name="connsiteY8" fmla="*/ 804037 h 4824348"/>
              <a:gd name="connsiteX9" fmla="*/ 7920037 w 7920037"/>
              <a:gd name="connsiteY9" fmla="*/ 4020312 h 4824348"/>
              <a:gd name="connsiteX10" fmla="*/ 7920037 w 7920037"/>
              <a:gd name="connsiteY10" fmla="*/ 4020312 h 4824348"/>
              <a:gd name="connsiteX11" fmla="*/ 7116000 w 7920037"/>
              <a:gd name="connsiteY11" fmla="*/ 4824349 h 4824348"/>
              <a:gd name="connsiteX12" fmla="*/ 7116000 w 7920037"/>
              <a:gd name="connsiteY12" fmla="*/ 4824349 h 4824348"/>
              <a:gd name="connsiteX13" fmla="*/ 7116000 w 7920037"/>
              <a:gd name="connsiteY13" fmla="*/ 4824349 h 4824348"/>
              <a:gd name="connsiteX14" fmla="*/ 804100 w 7920037"/>
              <a:gd name="connsiteY14" fmla="*/ 4824349 h 4824348"/>
              <a:gd name="connsiteX15" fmla="*/ 804100 w 7920037"/>
              <a:gd name="connsiteY15" fmla="*/ 4824349 h 4824348"/>
              <a:gd name="connsiteX16" fmla="*/ 0 w 7920037"/>
              <a:gd name="connsiteY16" fmla="*/ 4020312 h 4824348"/>
              <a:gd name="connsiteX17" fmla="*/ 0 w 7920037"/>
              <a:gd name="connsiteY17" fmla="*/ 4020312 h 4824348"/>
              <a:gd name="connsiteX18" fmla="*/ 0 w 7920037"/>
              <a:gd name="connsiteY18" fmla="*/ 804037 h 4824348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0037" h="4824348">
                <a:moveTo>
                  <a:pt x="0" y="804037"/>
                </a:moveTo>
                <a:cubicBezTo>
                  <a:pt x="0" y="359918"/>
                  <a:pt x="360006" y="0"/>
                  <a:pt x="804100" y="0"/>
                </a:cubicBezTo>
                <a:cubicBezTo>
                  <a:pt x="804100" y="0"/>
                  <a:pt x="804100" y="0"/>
                  <a:pt x="804100" y="0"/>
                </a:cubicBezTo>
                <a:lnTo>
                  <a:pt x="804100" y="0"/>
                </a:lnTo>
                <a:lnTo>
                  <a:pt x="7116000" y="0"/>
                </a:lnTo>
                <a:lnTo>
                  <a:pt x="7116000" y="0"/>
                </a:lnTo>
                <a:cubicBezTo>
                  <a:pt x="7559992" y="0"/>
                  <a:pt x="7920037" y="359918"/>
                  <a:pt x="7920037" y="804037"/>
                </a:cubicBezTo>
                <a:cubicBezTo>
                  <a:pt x="7920037" y="804037"/>
                  <a:pt x="7920037" y="804037"/>
                  <a:pt x="7920037" y="804037"/>
                </a:cubicBezTo>
                <a:lnTo>
                  <a:pt x="7920037" y="804037"/>
                </a:lnTo>
                <a:lnTo>
                  <a:pt x="7920037" y="4020312"/>
                </a:lnTo>
                <a:lnTo>
                  <a:pt x="7920037" y="4020312"/>
                </a:lnTo>
                <a:cubicBezTo>
                  <a:pt x="7920037" y="4464303"/>
                  <a:pt x="7559992" y="4824349"/>
                  <a:pt x="7116000" y="4824349"/>
                </a:cubicBezTo>
                <a:cubicBezTo>
                  <a:pt x="7116000" y="4824349"/>
                  <a:pt x="7116000" y="4824349"/>
                  <a:pt x="7116000" y="4824349"/>
                </a:cubicBezTo>
                <a:lnTo>
                  <a:pt x="7116000" y="4824349"/>
                </a:lnTo>
                <a:lnTo>
                  <a:pt x="804100" y="4824349"/>
                </a:lnTo>
                <a:lnTo>
                  <a:pt x="804100" y="4824349"/>
                </a:lnTo>
                <a:cubicBezTo>
                  <a:pt x="360006" y="4824349"/>
                  <a:pt x="0" y="4464303"/>
                  <a:pt x="0" y="4020312"/>
                </a:cubicBezTo>
                <a:cubicBezTo>
                  <a:pt x="0" y="4020312"/>
                  <a:pt x="0" y="4020312"/>
                  <a:pt x="0" y="4020312"/>
                </a:cubicBezTo>
                <a:lnTo>
                  <a:pt x="0" y="804037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844043" y="1807579"/>
            <a:ext cx="7414917" cy="3654739"/>
          </a:xfrm>
          <a:custGeom>
            <a:avLst/>
            <a:gdLst>
              <a:gd name="connsiteX0" fmla="*/ 0 w 7565973"/>
              <a:gd name="connsiteY0" fmla="*/ 621538 h 3728973"/>
              <a:gd name="connsiteX1" fmla="*/ 621487 w 7565973"/>
              <a:gd name="connsiteY1" fmla="*/ 0 h 3728973"/>
              <a:gd name="connsiteX2" fmla="*/ 621487 w 7565973"/>
              <a:gd name="connsiteY2" fmla="*/ 0 h 3728973"/>
              <a:gd name="connsiteX3" fmla="*/ 621487 w 7565973"/>
              <a:gd name="connsiteY3" fmla="*/ 0 h 3728973"/>
              <a:gd name="connsiteX4" fmla="*/ 6944436 w 7565973"/>
              <a:gd name="connsiteY4" fmla="*/ 0 h 3728973"/>
              <a:gd name="connsiteX5" fmla="*/ 6944436 w 7565973"/>
              <a:gd name="connsiteY5" fmla="*/ 0 h 3728973"/>
              <a:gd name="connsiteX6" fmla="*/ 7565974 w 7565973"/>
              <a:gd name="connsiteY6" fmla="*/ 621538 h 3728973"/>
              <a:gd name="connsiteX7" fmla="*/ 7565974 w 7565973"/>
              <a:gd name="connsiteY7" fmla="*/ 621538 h 3728973"/>
              <a:gd name="connsiteX8" fmla="*/ 7565974 w 7565973"/>
              <a:gd name="connsiteY8" fmla="*/ 621538 h 3728973"/>
              <a:gd name="connsiteX9" fmla="*/ 7565974 w 7565973"/>
              <a:gd name="connsiteY9" fmla="*/ 3107435 h 3728973"/>
              <a:gd name="connsiteX10" fmla="*/ 7565974 w 7565973"/>
              <a:gd name="connsiteY10" fmla="*/ 3107435 h 3728973"/>
              <a:gd name="connsiteX11" fmla="*/ 6944436 w 7565973"/>
              <a:gd name="connsiteY11" fmla="*/ 3728973 h 3728973"/>
              <a:gd name="connsiteX12" fmla="*/ 6944436 w 7565973"/>
              <a:gd name="connsiteY12" fmla="*/ 3728973 h 3728973"/>
              <a:gd name="connsiteX13" fmla="*/ 6944436 w 7565973"/>
              <a:gd name="connsiteY13" fmla="*/ 3728973 h 3728973"/>
              <a:gd name="connsiteX14" fmla="*/ 621487 w 7565973"/>
              <a:gd name="connsiteY14" fmla="*/ 3728973 h 3728973"/>
              <a:gd name="connsiteX15" fmla="*/ 621487 w 7565973"/>
              <a:gd name="connsiteY15" fmla="*/ 3728973 h 3728973"/>
              <a:gd name="connsiteX16" fmla="*/ 12 w 7565973"/>
              <a:gd name="connsiteY16" fmla="*/ 3107435 h 3728973"/>
              <a:gd name="connsiteX17" fmla="*/ 12 w 7565973"/>
              <a:gd name="connsiteY17" fmla="*/ 3107435 h 3728973"/>
              <a:gd name="connsiteX18" fmla="*/ 0 w 7565973"/>
              <a:gd name="connsiteY18" fmla="*/ 621538 h 37289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5973" h="3728973">
                <a:moveTo>
                  <a:pt x="0" y="621538"/>
                </a:moveTo>
                <a:cubicBezTo>
                  <a:pt x="0" y="278257"/>
                  <a:pt x="278269" y="0"/>
                  <a:pt x="621487" y="0"/>
                </a:cubicBezTo>
                <a:cubicBezTo>
                  <a:pt x="621487" y="0"/>
                  <a:pt x="621487" y="0"/>
                  <a:pt x="621487" y="0"/>
                </a:cubicBezTo>
                <a:lnTo>
                  <a:pt x="621487" y="0"/>
                </a:lnTo>
                <a:lnTo>
                  <a:pt x="6944436" y="0"/>
                </a:lnTo>
                <a:lnTo>
                  <a:pt x="6944436" y="0"/>
                </a:lnTo>
                <a:cubicBezTo>
                  <a:pt x="7287717" y="0"/>
                  <a:pt x="7565974" y="278257"/>
                  <a:pt x="7565974" y="621538"/>
                </a:cubicBezTo>
                <a:cubicBezTo>
                  <a:pt x="7565974" y="621538"/>
                  <a:pt x="7565974" y="621538"/>
                  <a:pt x="7565974" y="621538"/>
                </a:cubicBezTo>
                <a:lnTo>
                  <a:pt x="7565974" y="621538"/>
                </a:lnTo>
                <a:lnTo>
                  <a:pt x="7565974" y="3107435"/>
                </a:lnTo>
                <a:lnTo>
                  <a:pt x="7565974" y="3107435"/>
                </a:lnTo>
                <a:cubicBezTo>
                  <a:pt x="7565974" y="3450716"/>
                  <a:pt x="7287717" y="3728973"/>
                  <a:pt x="6944436" y="3728973"/>
                </a:cubicBezTo>
                <a:cubicBezTo>
                  <a:pt x="6944436" y="3728973"/>
                  <a:pt x="6944436" y="3728973"/>
                  <a:pt x="6944436" y="3728973"/>
                </a:cubicBezTo>
                <a:lnTo>
                  <a:pt x="6944436" y="3728973"/>
                </a:lnTo>
                <a:lnTo>
                  <a:pt x="621487" y="3728973"/>
                </a:lnTo>
                <a:lnTo>
                  <a:pt x="621487" y="3728973"/>
                </a:lnTo>
                <a:cubicBezTo>
                  <a:pt x="278269" y="3728973"/>
                  <a:pt x="0" y="3450716"/>
                  <a:pt x="12" y="3107435"/>
                </a:cubicBezTo>
                <a:cubicBezTo>
                  <a:pt x="12" y="3107435"/>
                  <a:pt x="12" y="3107435"/>
                  <a:pt x="12" y="3107435"/>
                </a:cubicBezTo>
                <a:lnTo>
                  <a:pt x="0" y="621538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37402" y="6410296"/>
            <a:ext cx="51296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9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609876" y="647253"/>
            <a:ext cx="6725431" cy="3969395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1891792" algn="l"/>
                <a:tab pos="2290064" algn="l"/>
                <a:tab pos="2713228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1.Нормирова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:</a:t>
            </a:r>
          </a:p>
          <a:p>
            <a:pPr>
              <a:lnSpc>
                <a:spcPts val="2058"/>
              </a:lnSpc>
              <a:tabLst>
                <a:tab pos="584962" algn="l"/>
                <a:tab pos="1891792" algn="l"/>
                <a:tab pos="2290064" algn="l"/>
                <a:tab pos="2713228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законодатель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сновы</a:t>
            </a:r>
          </a:p>
          <a:p>
            <a:pPr>
              <a:lnSpc>
                <a:spcPts val="3528"/>
              </a:lnSpc>
              <a:tabLst>
                <a:tab pos="584962" algn="l"/>
                <a:tab pos="1891792" algn="l"/>
                <a:tab pos="2290064" algn="l"/>
                <a:tab pos="2713228" algn="l"/>
              </a:tabLst>
            </a:pPr>
            <a:r>
              <a:rPr lang="en-US" altLang="zh-CN" dirty="0" smtClean="0"/>
              <a:t>				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лава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2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К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Ф</a:t>
            </a:r>
          </a:p>
          <a:p>
            <a:pPr>
              <a:lnSpc>
                <a:spcPts val="1862"/>
              </a:lnSpc>
              <a:tabLst>
                <a:tab pos="584962" algn="l"/>
                <a:tab pos="1891792" algn="l"/>
                <a:tab pos="2290064" algn="l"/>
                <a:tab pos="2713228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основн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ть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ю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)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960"/>
              </a:lnSpc>
              <a:tabLst>
                <a:tab pos="584962" algn="l"/>
                <a:tab pos="1891792" algn="l"/>
                <a:tab pos="2290064" algn="l"/>
                <a:tab pos="2713228" algn="l"/>
              </a:tabLst>
            </a:pPr>
            <a:r>
              <a:rPr lang="en-US" altLang="zh-CN" dirty="0" smtClean="0"/>
              <a:t>			</a:t>
            </a:r>
            <a:r>
              <a:rPr lang="en-US" altLang="zh-CN" sz="1600" u="sng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тья 159. Общие положения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744"/>
              </a:lnSpc>
              <a:tabLst>
                <a:tab pos="584962" algn="l"/>
                <a:tab pos="1891792" algn="l"/>
                <a:tab pos="2290064" algn="l"/>
                <a:tab pos="271322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а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арантируются:</a:t>
            </a:r>
          </a:p>
          <a:p>
            <a:pPr>
              <a:lnSpc>
                <a:spcPts val="2450"/>
              </a:lnSpc>
              <a:tabLst>
                <a:tab pos="584962" algn="l"/>
                <a:tab pos="1891792" algn="l"/>
                <a:tab pos="2290064" algn="l"/>
                <a:tab pos="271322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сударственно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действ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истемной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</a:p>
          <a:p>
            <a:pPr>
              <a:lnSpc>
                <a:spcPts val="2058"/>
              </a:lnSpc>
              <a:tabLst>
                <a:tab pos="584962" algn="l"/>
                <a:tab pos="1891792" algn="l"/>
                <a:tab pos="2290064" algn="l"/>
                <a:tab pos="271322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;</a:t>
            </a:r>
          </a:p>
          <a:p>
            <a:pPr>
              <a:lnSpc>
                <a:spcPts val="2450"/>
              </a:lnSpc>
              <a:tabLst>
                <a:tab pos="584962" algn="l"/>
                <a:tab pos="1891792" algn="l"/>
                <a:tab pos="2290064" algn="l"/>
                <a:tab pos="271322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мен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исте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,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пределяемых</a:t>
            </a:r>
          </a:p>
          <a:p>
            <a:pPr>
              <a:lnSpc>
                <a:spcPts val="2058"/>
              </a:lnSpc>
              <a:tabLst>
                <a:tab pos="584962" algn="l"/>
                <a:tab pos="1891792" algn="l"/>
                <a:tab pos="2290064" algn="l"/>
                <a:tab pos="271322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одателе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ет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н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едставительно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а</a:t>
            </a:r>
          </a:p>
          <a:p>
            <a:pPr>
              <a:lnSpc>
                <a:spcPts val="2058"/>
              </a:lnSpc>
              <a:tabLst>
                <a:tab pos="584962" algn="l"/>
                <a:tab pos="1891792" algn="l"/>
                <a:tab pos="2290064" algn="l"/>
                <a:tab pos="271322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о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л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авливаем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ллективным</a:t>
            </a:r>
          </a:p>
          <a:p>
            <a:pPr>
              <a:lnSpc>
                <a:spcPts val="2058"/>
              </a:lnSpc>
              <a:tabLst>
                <a:tab pos="584962" algn="l"/>
                <a:tab pos="1891792" algn="l"/>
                <a:tab pos="2290064" algn="l"/>
                <a:tab pos="271322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говором.</a:t>
            </a:r>
          </a:p>
        </p:txBody>
      </p:sp>
    </p:spTree>
    <p:extLst>
      <p:ext uri="{BB962C8B-B14F-4D97-AF65-F5344CB8AC3E}">
        <p14:creationId xmlns:p14="http://schemas.microsoft.com/office/powerpoint/2010/main" val="2573511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60090" y="1050292"/>
            <a:ext cx="7763468" cy="4656736"/>
          </a:xfrm>
          <a:custGeom>
            <a:avLst/>
            <a:gdLst>
              <a:gd name="connsiteX0" fmla="*/ 0 w 7921625"/>
              <a:gd name="connsiteY0" fmla="*/ 791844 h 4751323"/>
              <a:gd name="connsiteX1" fmla="*/ 791972 w 7921625"/>
              <a:gd name="connsiteY1" fmla="*/ 0 h 4751323"/>
              <a:gd name="connsiteX2" fmla="*/ 791972 w 7921625"/>
              <a:gd name="connsiteY2" fmla="*/ 0 h 4751323"/>
              <a:gd name="connsiteX3" fmla="*/ 791972 w 7921625"/>
              <a:gd name="connsiteY3" fmla="*/ 0 h 4751323"/>
              <a:gd name="connsiteX4" fmla="*/ 7129653 w 7921625"/>
              <a:gd name="connsiteY4" fmla="*/ 0 h 4751323"/>
              <a:gd name="connsiteX5" fmla="*/ 7129653 w 7921625"/>
              <a:gd name="connsiteY5" fmla="*/ 0 h 4751323"/>
              <a:gd name="connsiteX6" fmla="*/ 7921625 w 7921625"/>
              <a:gd name="connsiteY6" fmla="*/ 791844 h 4751323"/>
              <a:gd name="connsiteX7" fmla="*/ 7921625 w 7921625"/>
              <a:gd name="connsiteY7" fmla="*/ 791844 h 4751323"/>
              <a:gd name="connsiteX8" fmla="*/ 7921625 w 7921625"/>
              <a:gd name="connsiteY8" fmla="*/ 791844 h 4751323"/>
              <a:gd name="connsiteX9" fmla="*/ 7921625 w 7921625"/>
              <a:gd name="connsiteY9" fmla="*/ 3959352 h 4751323"/>
              <a:gd name="connsiteX10" fmla="*/ 7921625 w 7921625"/>
              <a:gd name="connsiteY10" fmla="*/ 3959352 h 4751323"/>
              <a:gd name="connsiteX11" fmla="*/ 7129653 w 7921625"/>
              <a:gd name="connsiteY11" fmla="*/ 4751324 h 4751323"/>
              <a:gd name="connsiteX12" fmla="*/ 7129653 w 7921625"/>
              <a:gd name="connsiteY12" fmla="*/ 4751324 h 4751323"/>
              <a:gd name="connsiteX13" fmla="*/ 7129653 w 7921625"/>
              <a:gd name="connsiteY13" fmla="*/ 4751324 h 4751323"/>
              <a:gd name="connsiteX14" fmla="*/ 791972 w 7921625"/>
              <a:gd name="connsiteY14" fmla="*/ 4751324 h 4751323"/>
              <a:gd name="connsiteX15" fmla="*/ 791972 w 7921625"/>
              <a:gd name="connsiteY15" fmla="*/ 4751324 h 4751323"/>
              <a:gd name="connsiteX16" fmla="*/ 0 w 7921625"/>
              <a:gd name="connsiteY16" fmla="*/ 3959352 h 4751323"/>
              <a:gd name="connsiteX17" fmla="*/ 0 w 7921625"/>
              <a:gd name="connsiteY17" fmla="*/ 3959352 h 4751323"/>
              <a:gd name="connsiteX18" fmla="*/ 0 w 7921625"/>
              <a:gd name="connsiteY18" fmla="*/ 791844 h 475132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21625" h="4751323">
                <a:moveTo>
                  <a:pt x="0" y="791844"/>
                </a:moveTo>
                <a:cubicBezTo>
                  <a:pt x="0" y="354457"/>
                  <a:pt x="354558" y="0"/>
                  <a:pt x="791972" y="0"/>
                </a:cubicBezTo>
                <a:cubicBezTo>
                  <a:pt x="791972" y="0"/>
                  <a:pt x="791972" y="0"/>
                  <a:pt x="791972" y="0"/>
                </a:cubicBezTo>
                <a:lnTo>
                  <a:pt x="791972" y="0"/>
                </a:lnTo>
                <a:lnTo>
                  <a:pt x="7129653" y="0"/>
                </a:lnTo>
                <a:lnTo>
                  <a:pt x="7129653" y="0"/>
                </a:lnTo>
                <a:cubicBezTo>
                  <a:pt x="7567041" y="0"/>
                  <a:pt x="7921625" y="354457"/>
                  <a:pt x="7921625" y="791844"/>
                </a:cubicBezTo>
                <a:cubicBezTo>
                  <a:pt x="7921625" y="791844"/>
                  <a:pt x="7921625" y="791844"/>
                  <a:pt x="7921625" y="791844"/>
                </a:cubicBezTo>
                <a:lnTo>
                  <a:pt x="7921625" y="791844"/>
                </a:lnTo>
                <a:lnTo>
                  <a:pt x="7921625" y="3959352"/>
                </a:lnTo>
                <a:lnTo>
                  <a:pt x="7921625" y="3959352"/>
                </a:lnTo>
                <a:cubicBezTo>
                  <a:pt x="7921625" y="4396739"/>
                  <a:pt x="7567041" y="4751324"/>
                  <a:pt x="7129653" y="4751324"/>
                </a:cubicBezTo>
                <a:cubicBezTo>
                  <a:pt x="7129653" y="4751324"/>
                  <a:pt x="7129653" y="4751324"/>
                  <a:pt x="7129653" y="4751324"/>
                </a:cubicBezTo>
                <a:lnTo>
                  <a:pt x="7129653" y="4751324"/>
                </a:lnTo>
                <a:lnTo>
                  <a:pt x="791972" y="4751324"/>
                </a:lnTo>
                <a:lnTo>
                  <a:pt x="791972" y="4751324"/>
                </a:lnTo>
                <a:cubicBezTo>
                  <a:pt x="354545" y="4751324"/>
                  <a:pt x="0" y="4396739"/>
                  <a:pt x="0" y="3959352"/>
                </a:cubicBezTo>
                <a:cubicBezTo>
                  <a:pt x="0" y="3959352"/>
                  <a:pt x="0" y="3959352"/>
                  <a:pt x="0" y="3959352"/>
                </a:cubicBezTo>
                <a:lnTo>
                  <a:pt x="0" y="791844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33618" y="1814549"/>
            <a:ext cx="7416436" cy="3599350"/>
          </a:xfrm>
          <a:custGeom>
            <a:avLst/>
            <a:gdLst>
              <a:gd name="connsiteX0" fmla="*/ 0 w 7567523"/>
              <a:gd name="connsiteY0" fmla="*/ 612013 h 3672459"/>
              <a:gd name="connsiteX1" fmla="*/ 612114 w 7567523"/>
              <a:gd name="connsiteY1" fmla="*/ 0 h 3672459"/>
              <a:gd name="connsiteX2" fmla="*/ 612114 w 7567523"/>
              <a:gd name="connsiteY2" fmla="*/ 0 h 3672459"/>
              <a:gd name="connsiteX3" fmla="*/ 612114 w 7567523"/>
              <a:gd name="connsiteY3" fmla="*/ 0 h 3672459"/>
              <a:gd name="connsiteX4" fmla="*/ 6955383 w 7567523"/>
              <a:gd name="connsiteY4" fmla="*/ 0 h 3672459"/>
              <a:gd name="connsiteX5" fmla="*/ 6955383 w 7567523"/>
              <a:gd name="connsiteY5" fmla="*/ 0 h 3672459"/>
              <a:gd name="connsiteX6" fmla="*/ 7567523 w 7567523"/>
              <a:gd name="connsiteY6" fmla="*/ 612013 h 3672459"/>
              <a:gd name="connsiteX7" fmla="*/ 7567523 w 7567523"/>
              <a:gd name="connsiteY7" fmla="*/ 612013 h 3672459"/>
              <a:gd name="connsiteX8" fmla="*/ 7567523 w 7567523"/>
              <a:gd name="connsiteY8" fmla="*/ 612013 h 3672459"/>
              <a:gd name="connsiteX9" fmla="*/ 7567523 w 7567523"/>
              <a:gd name="connsiteY9" fmla="*/ 3060446 h 3672459"/>
              <a:gd name="connsiteX10" fmla="*/ 7567523 w 7567523"/>
              <a:gd name="connsiteY10" fmla="*/ 3060446 h 3672459"/>
              <a:gd name="connsiteX11" fmla="*/ 6955383 w 7567523"/>
              <a:gd name="connsiteY11" fmla="*/ 3672459 h 3672459"/>
              <a:gd name="connsiteX12" fmla="*/ 6955383 w 7567523"/>
              <a:gd name="connsiteY12" fmla="*/ 3672459 h 3672459"/>
              <a:gd name="connsiteX13" fmla="*/ 6955383 w 7567523"/>
              <a:gd name="connsiteY13" fmla="*/ 3672459 h 3672459"/>
              <a:gd name="connsiteX14" fmla="*/ 612114 w 7567523"/>
              <a:gd name="connsiteY14" fmla="*/ 3672459 h 3672459"/>
              <a:gd name="connsiteX15" fmla="*/ 612114 w 7567523"/>
              <a:gd name="connsiteY15" fmla="*/ 3672459 h 3672459"/>
              <a:gd name="connsiteX16" fmla="*/ 0 w 7567523"/>
              <a:gd name="connsiteY16" fmla="*/ 3060446 h 3672459"/>
              <a:gd name="connsiteX17" fmla="*/ 0 w 7567523"/>
              <a:gd name="connsiteY17" fmla="*/ 3060446 h 3672459"/>
              <a:gd name="connsiteX18" fmla="*/ 0 w 7567523"/>
              <a:gd name="connsiteY18" fmla="*/ 612013 h 3672459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567523" h="3672459">
                <a:moveTo>
                  <a:pt x="0" y="612013"/>
                </a:moveTo>
                <a:cubicBezTo>
                  <a:pt x="0" y="273939"/>
                  <a:pt x="274053" y="0"/>
                  <a:pt x="612114" y="0"/>
                </a:cubicBezTo>
                <a:cubicBezTo>
                  <a:pt x="612114" y="0"/>
                  <a:pt x="612114" y="0"/>
                  <a:pt x="612114" y="0"/>
                </a:cubicBezTo>
                <a:lnTo>
                  <a:pt x="612114" y="0"/>
                </a:lnTo>
                <a:lnTo>
                  <a:pt x="6955383" y="0"/>
                </a:lnTo>
                <a:lnTo>
                  <a:pt x="6955383" y="0"/>
                </a:lnTo>
                <a:cubicBezTo>
                  <a:pt x="7293457" y="0"/>
                  <a:pt x="7567523" y="273939"/>
                  <a:pt x="7567523" y="612013"/>
                </a:cubicBezTo>
                <a:cubicBezTo>
                  <a:pt x="7567523" y="612013"/>
                  <a:pt x="7567523" y="612013"/>
                  <a:pt x="7567523" y="612013"/>
                </a:cubicBezTo>
                <a:lnTo>
                  <a:pt x="7567523" y="612013"/>
                </a:lnTo>
                <a:lnTo>
                  <a:pt x="7567523" y="3060446"/>
                </a:lnTo>
                <a:lnTo>
                  <a:pt x="7567523" y="3060446"/>
                </a:lnTo>
                <a:cubicBezTo>
                  <a:pt x="7567523" y="3398520"/>
                  <a:pt x="7293457" y="3672459"/>
                  <a:pt x="6955383" y="3672459"/>
                </a:cubicBezTo>
                <a:cubicBezTo>
                  <a:pt x="6955383" y="3672459"/>
                  <a:pt x="6955383" y="3672459"/>
                  <a:pt x="6955383" y="3672459"/>
                </a:cubicBezTo>
                <a:lnTo>
                  <a:pt x="6955383" y="3672459"/>
                </a:lnTo>
                <a:lnTo>
                  <a:pt x="612114" y="3672459"/>
                </a:lnTo>
                <a:lnTo>
                  <a:pt x="612114" y="3672459"/>
                </a:lnTo>
                <a:cubicBezTo>
                  <a:pt x="274053" y="3672459"/>
                  <a:pt x="0" y="3398520"/>
                  <a:pt x="0" y="3060446"/>
                </a:cubicBezTo>
                <a:cubicBezTo>
                  <a:pt x="0" y="3060446"/>
                  <a:pt x="0" y="3060446"/>
                  <a:pt x="0" y="3060446"/>
                </a:cubicBezTo>
                <a:lnTo>
                  <a:pt x="0" y="612013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82</a:t>
            </a:r>
          </a:p>
        </p:txBody>
      </p:sp>
      <p:sp>
        <p:nvSpPr>
          <p:cNvPr id="9" name="TextBox 1"/>
          <p:cNvSpPr txBox="1"/>
          <p:nvPr/>
        </p:nvSpPr>
        <p:spPr>
          <a:xfrm>
            <a:off x="609876" y="659700"/>
            <a:ext cx="7546938" cy="4200227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348488" algn="l"/>
                <a:tab pos="3397758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4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Формализац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учреждения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352"/>
              </a:lnSpc>
              <a:tabLst>
                <a:tab pos="348488" algn="l"/>
                <a:tab pos="3397758" algn="l"/>
              </a:tabLst>
            </a:pPr>
            <a:r>
              <a:rPr lang="en-US" altLang="zh-CN" dirty="0" smtClean="0"/>
              <a:t>		</a:t>
            </a:r>
            <a:r>
              <a:rPr lang="en-US" altLang="zh-CN" sz="1700" dirty="0">
                <a:solidFill>
                  <a:srgbClr val="323937"/>
                </a:solidFill>
                <a:latin typeface="Arial Narrow" pitchFamily="18" charset="0"/>
                <a:cs typeface="Arial Narrow" pitchFamily="18" charset="0"/>
              </a:rPr>
              <a:t>ВЫВОДЫ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2156"/>
              </a:lnSpc>
              <a:tabLst>
                <a:tab pos="348488" algn="l"/>
                <a:tab pos="339775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1.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ровн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сударственн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муниципальных)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й</a:t>
            </a:r>
          </a:p>
          <a:p>
            <a:pPr>
              <a:lnSpc>
                <a:spcPts val="2058"/>
              </a:lnSpc>
              <a:tabLst>
                <a:tab pos="348488" algn="l"/>
                <a:tab pos="339775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ействую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твержден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окально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ровне.</a:t>
            </a:r>
          </a:p>
          <a:p>
            <a:pPr>
              <a:lnSpc>
                <a:spcPts val="2058"/>
              </a:lnSpc>
              <a:tabLst>
                <a:tab pos="348488" algn="l"/>
                <a:tab pos="339775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жотраслев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раслев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являются</a:t>
            </a:r>
          </a:p>
          <a:p>
            <a:pPr>
              <a:lnSpc>
                <a:spcPts val="2058"/>
              </a:lnSpc>
              <a:tabLst>
                <a:tab pos="348488" algn="l"/>
                <a:tab pos="339775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екомендационным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длежат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нализу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нят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ачестве</a:t>
            </a:r>
          </a:p>
          <a:p>
            <a:pPr>
              <a:lnSpc>
                <a:spcPts val="2058"/>
              </a:lnSpc>
              <a:tabLst>
                <a:tab pos="348488" algn="l"/>
                <a:tab pos="339775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ы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окальных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.</a:t>
            </a:r>
          </a:p>
          <a:p>
            <a:pPr>
              <a:lnSpc>
                <a:spcPts val="2058"/>
              </a:lnSpc>
              <a:tabLst>
                <a:tab pos="348488" algn="l"/>
                <a:tab pos="339775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.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осударствен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муниципальные)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чрежде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лжны</a:t>
            </a:r>
          </a:p>
          <a:p>
            <a:pPr>
              <a:lnSpc>
                <a:spcPts val="2058"/>
              </a:lnSpc>
              <a:tabLst>
                <a:tab pos="348488" algn="l"/>
                <a:tab pos="339775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работа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«Положе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»</a:t>
            </a:r>
          </a:p>
          <a:p>
            <a:pPr>
              <a:lnSpc>
                <a:spcPts val="2058"/>
              </a:lnSpc>
              <a:tabLst>
                <a:tab pos="348488" algn="l"/>
                <a:tab pos="339775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иб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рядо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я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ветить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ак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здел</a:t>
            </a:r>
          </a:p>
          <a:p>
            <a:pPr>
              <a:lnSpc>
                <a:spcPts val="2058"/>
              </a:lnSpc>
              <a:tabLst>
                <a:tab pos="348488" algn="l"/>
                <a:tab pos="3397758" algn="l"/>
              </a:tabLst>
            </a:pPr>
            <a:r>
              <a:rPr lang="en-US" altLang="zh-CN" dirty="0" smtClean="0"/>
              <a:t>	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Коллективного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говора.</a:t>
            </a:r>
          </a:p>
        </p:txBody>
      </p:sp>
    </p:spTree>
    <p:extLst>
      <p:ext uri="{BB962C8B-B14F-4D97-AF65-F5344CB8AC3E}">
        <p14:creationId xmlns:p14="http://schemas.microsoft.com/office/powerpoint/2010/main" val="215479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306494" y="315909"/>
            <a:ext cx="8278376" cy="5808100"/>
          </a:xfrm>
          <a:custGeom>
            <a:avLst/>
            <a:gdLst>
              <a:gd name="connsiteX0" fmla="*/ 6350 w 8447023"/>
              <a:gd name="connsiteY0" fmla="*/ 5919724 h 5926073"/>
              <a:gd name="connsiteX1" fmla="*/ 8440673 w 8447023"/>
              <a:gd name="connsiteY1" fmla="*/ 5919724 h 5926073"/>
              <a:gd name="connsiteX2" fmla="*/ 8440673 w 8447023"/>
              <a:gd name="connsiteY2" fmla="*/ 6350 h 5926073"/>
              <a:gd name="connsiteX3" fmla="*/ 6350 w 8447023"/>
              <a:gd name="connsiteY3" fmla="*/ 6350 h 5926073"/>
              <a:gd name="connsiteX4" fmla="*/ 6350 w 8447023"/>
              <a:gd name="connsiteY4" fmla="*/ 5919724 h 5926073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</a:cxnLst>
            <a:rect l="l" t="t" r="r" b="b"/>
            <a:pathLst>
              <a:path w="8447023" h="5926073">
                <a:moveTo>
                  <a:pt x="6350" y="5919724"/>
                </a:moveTo>
                <a:lnTo>
                  <a:pt x="8440673" y="5919724"/>
                </a:lnTo>
                <a:lnTo>
                  <a:pt x="8440673" y="6350"/>
                </a:lnTo>
                <a:lnTo>
                  <a:pt x="6350" y="6350"/>
                </a:lnTo>
                <a:lnTo>
                  <a:pt x="6350" y="5919724"/>
                </a:lnTo>
              </a:path>
            </a:pathLst>
          </a:custGeom>
          <a:solidFill>
            <a:srgbClr val="000000">
              <a:alpha val="0"/>
            </a:srgbClr>
          </a:solidFill>
          <a:ln w="12700">
            <a:solidFill>
              <a:srgbClr val="C0C0C0">
                <a:alpha val="10000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5" name="Freeform 3"/>
          <p:cNvSpPr/>
          <p:nvPr/>
        </p:nvSpPr>
        <p:spPr>
          <a:xfrm>
            <a:off x="598984" y="1103192"/>
            <a:ext cx="7833479" cy="4586722"/>
          </a:xfrm>
          <a:custGeom>
            <a:avLst/>
            <a:gdLst>
              <a:gd name="connsiteX0" fmla="*/ 0 w 7993062"/>
              <a:gd name="connsiteY0" fmla="*/ 779906 h 4679886"/>
              <a:gd name="connsiteX1" fmla="*/ 779970 w 7993062"/>
              <a:gd name="connsiteY1" fmla="*/ 0 h 4679886"/>
              <a:gd name="connsiteX2" fmla="*/ 779970 w 7993062"/>
              <a:gd name="connsiteY2" fmla="*/ 0 h 4679886"/>
              <a:gd name="connsiteX3" fmla="*/ 779970 w 7993062"/>
              <a:gd name="connsiteY3" fmla="*/ 0 h 4679886"/>
              <a:gd name="connsiteX4" fmla="*/ 7213028 w 7993062"/>
              <a:gd name="connsiteY4" fmla="*/ 0 h 4679886"/>
              <a:gd name="connsiteX5" fmla="*/ 7213028 w 7993062"/>
              <a:gd name="connsiteY5" fmla="*/ 0 h 4679886"/>
              <a:gd name="connsiteX6" fmla="*/ 7993062 w 7993062"/>
              <a:gd name="connsiteY6" fmla="*/ 779906 h 4679886"/>
              <a:gd name="connsiteX7" fmla="*/ 7993062 w 7993062"/>
              <a:gd name="connsiteY7" fmla="*/ 779906 h 4679886"/>
              <a:gd name="connsiteX8" fmla="*/ 7993062 w 7993062"/>
              <a:gd name="connsiteY8" fmla="*/ 779906 h 4679886"/>
              <a:gd name="connsiteX9" fmla="*/ 7993062 w 7993062"/>
              <a:gd name="connsiteY9" fmla="*/ 3899915 h 4679886"/>
              <a:gd name="connsiteX10" fmla="*/ 7993062 w 7993062"/>
              <a:gd name="connsiteY10" fmla="*/ 3899915 h 4679886"/>
              <a:gd name="connsiteX11" fmla="*/ 7213028 w 7993062"/>
              <a:gd name="connsiteY11" fmla="*/ 4679886 h 4679886"/>
              <a:gd name="connsiteX12" fmla="*/ 7213028 w 7993062"/>
              <a:gd name="connsiteY12" fmla="*/ 4679886 h 4679886"/>
              <a:gd name="connsiteX13" fmla="*/ 7213028 w 7993062"/>
              <a:gd name="connsiteY13" fmla="*/ 4679886 h 4679886"/>
              <a:gd name="connsiteX14" fmla="*/ 779970 w 7993062"/>
              <a:gd name="connsiteY14" fmla="*/ 4679886 h 4679886"/>
              <a:gd name="connsiteX15" fmla="*/ 779970 w 7993062"/>
              <a:gd name="connsiteY15" fmla="*/ 4679886 h 4679886"/>
              <a:gd name="connsiteX16" fmla="*/ 0 w 7993062"/>
              <a:gd name="connsiteY16" fmla="*/ 3899915 h 4679886"/>
              <a:gd name="connsiteX17" fmla="*/ 0 w 7993062"/>
              <a:gd name="connsiteY17" fmla="*/ 3899915 h 4679886"/>
              <a:gd name="connsiteX18" fmla="*/ 0 w 7993062"/>
              <a:gd name="connsiteY18" fmla="*/ 779906 h 4679886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993062" h="4679886">
                <a:moveTo>
                  <a:pt x="0" y="779906"/>
                </a:moveTo>
                <a:cubicBezTo>
                  <a:pt x="0" y="349123"/>
                  <a:pt x="349224" y="0"/>
                  <a:pt x="779970" y="0"/>
                </a:cubicBezTo>
                <a:cubicBezTo>
                  <a:pt x="779970" y="0"/>
                  <a:pt x="779970" y="0"/>
                  <a:pt x="779970" y="0"/>
                </a:cubicBezTo>
                <a:lnTo>
                  <a:pt x="779970" y="0"/>
                </a:lnTo>
                <a:lnTo>
                  <a:pt x="7213028" y="0"/>
                </a:lnTo>
                <a:lnTo>
                  <a:pt x="7213028" y="0"/>
                </a:lnTo>
                <a:cubicBezTo>
                  <a:pt x="7643812" y="0"/>
                  <a:pt x="7993062" y="349123"/>
                  <a:pt x="7993062" y="779906"/>
                </a:cubicBezTo>
                <a:cubicBezTo>
                  <a:pt x="7993062" y="779906"/>
                  <a:pt x="7993062" y="779906"/>
                  <a:pt x="7993062" y="779906"/>
                </a:cubicBezTo>
                <a:lnTo>
                  <a:pt x="7993062" y="779906"/>
                </a:lnTo>
                <a:lnTo>
                  <a:pt x="7993062" y="3899915"/>
                </a:lnTo>
                <a:lnTo>
                  <a:pt x="7993062" y="3899915"/>
                </a:lnTo>
                <a:cubicBezTo>
                  <a:pt x="7993062" y="4330700"/>
                  <a:pt x="7643812" y="4679886"/>
                  <a:pt x="7213028" y="4679886"/>
                </a:cubicBezTo>
                <a:cubicBezTo>
                  <a:pt x="7213028" y="4679886"/>
                  <a:pt x="7213028" y="4679886"/>
                  <a:pt x="7213028" y="4679886"/>
                </a:cubicBezTo>
                <a:lnTo>
                  <a:pt x="7213028" y="4679886"/>
                </a:lnTo>
                <a:lnTo>
                  <a:pt x="779970" y="4679886"/>
                </a:lnTo>
                <a:lnTo>
                  <a:pt x="779970" y="4679886"/>
                </a:lnTo>
                <a:cubicBezTo>
                  <a:pt x="349224" y="4679886"/>
                  <a:pt x="0" y="4330700"/>
                  <a:pt x="0" y="3899915"/>
                </a:cubicBezTo>
                <a:cubicBezTo>
                  <a:pt x="0" y="3899915"/>
                  <a:pt x="0" y="3899915"/>
                  <a:pt x="0" y="3899915"/>
                </a:cubicBezTo>
                <a:lnTo>
                  <a:pt x="0" y="779906"/>
                </a:lnTo>
              </a:path>
            </a:pathLst>
          </a:custGeom>
          <a:solidFill>
            <a:srgbClr val="99CC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6" name="Freeform 3"/>
          <p:cNvSpPr/>
          <p:nvPr/>
        </p:nvSpPr>
        <p:spPr>
          <a:xfrm>
            <a:off x="774082" y="1855874"/>
            <a:ext cx="7483261" cy="3545328"/>
          </a:xfrm>
          <a:custGeom>
            <a:avLst/>
            <a:gdLst>
              <a:gd name="connsiteX0" fmla="*/ 0 w 7635710"/>
              <a:gd name="connsiteY0" fmla="*/ 602995 h 3617340"/>
              <a:gd name="connsiteX1" fmla="*/ 602957 w 7635710"/>
              <a:gd name="connsiteY1" fmla="*/ 0 h 3617340"/>
              <a:gd name="connsiteX2" fmla="*/ 602957 w 7635710"/>
              <a:gd name="connsiteY2" fmla="*/ 0 h 3617340"/>
              <a:gd name="connsiteX3" fmla="*/ 602957 w 7635710"/>
              <a:gd name="connsiteY3" fmla="*/ 0 h 3617340"/>
              <a:gd name="connsiteX4" fmla="*/ 7032841 w 7635710"/>
              <a:gd name="connsiteY4" fmla="*/ 0 h 3617340"/>
              <a:gd name="connsiteX5" fmla="*/ 7032841 w 7635710"/>
              <a:gd name="connsiteY5" fmla="*/ 0 h 3617340"/>
              <a:gd name="connsiteX6" fmla="*/ 7635709 w 7635710"/>
              <a:gd name="connsiteY6" fmla="*/ 602995 h 3617340"/>
              <a:gd name="connsiteX7" fmla="*/ 7635709 w 7635710"/>
              <a:gd name="connsiteY7" fmla="*/ 602995 h 3617340"/>
              <a:gd name="connsiteX8" fmla="*/ 7635709 w 7635710"/>
              <a:gd name="connsiteY8" fmla="*/ 602995 h 3617340"/>
              <a:gd name="connsiteX9" fmla="*/ 7635709 w 7635710"/>
              <a:gd name="connsiteY9" fmla="*/ 3014471 h 3617340"/>
              <a:gd name="connsiteX10" fmla="*/ 7635709 w 7635710"/>
              <a:gd name="connsiteY10" fmla="*/ 3014471 h 3617340"/>
              <a:gd name="connsiteX11" fmla="*/ 7032841 w 7635710"/>
              <a:gd name="connsiteY11" fmla="*/ 3617340 h 3617340"/>
              <a:gd name="connsiteX12" fmla="*/ 7032841 w 7635710"/>
              <a:gd name="connsiteY12" fmla="*/ 3617340 h 3617340"/>
              <a:gd name="connsiteX13" fmla="*/ 7032841 w 7635710"/>
              <a:gd name="connsiteY13" fmla="*/ 3617340 h 3617340"/>
              <a:gd name="connsiteX14" fmla="*/ 602957 w 7635710"/>
              <a:gd name="connsiteY14" fmla="*/ 3617340 h 3617340"/>
              <a:gd name="connsiteX15" fmla="*/ 602957 w 7635710"/>
              <a:gd name="connsiteY15" fmla="*/ 3617340 h 3617340"/>
              <a:gd name="connsiteX16" fmla="*/ 0 w 7635710"/>
              <a:gd name="connsiteY16" fmla="*/ 3014471 h 3617340"/>
              <a:gd name="connsiteX17" fmla="*/ 0 w 7635710"/>
              <a:gd name="connsiteY17" fmla="*/ 3014471 h 3617340"/>
              <a:gd name="connsiteX18" fmla="*/ 0 w 7635710"/>
              <a:gd name="connsiteY18" fmla="*/ 602995 h 361734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  <a:cxn ang="3">
                <a:pos x="connsiteX3" y="connsiteY3"/>
              </a:cxn>
              <a:cxn ang="4">
                <a:pos x="connsiteX4" y="connsiteY4"/>
              </a:cxn>
              <a:cxn ang="5">
                <a:pos x="connsiteX5" y="connsiteY5"/>
              </a:cxn>
              <a:cxn ang="6">
                <a:pos x="connsiteX6" y="connsiteY6"/>
              </a:cxn>
              <a:cxn ang="7">
                <a:pos x="connsiteX7" y="connsiteY7"/>
              </a:cxn>
              <a:cxn ang="8">
                <a:pos x="connsiteX8" y="connsiteY8"/>
              </a:cxn>
              <a:cxn ang="9">
                <a:pos x="connsiteX9" y="connsiteY9"/>
              </a:cxn>
              <a:cxn ang="10">
                <a:pos x="connsiteX10" y="connsiteY10"/>
              </a:cxn>
              <a:cxn ang="11">
                <a:pos x="connsiteX11" y="connsiteY11"/>
              </a:cxn>
              <a:cxn ang="12">
                <a:pos x="connsiteX12" y="connsiteY12"/>
              </a:cxn>
              <a:cxn ang="13">
                <a:pos x="connsiteX13" y="connsiteY13"/>
              </a:cxn>
              <a:cxn ang="14">
                <a:pos x="connsiteX14" y="connsiteY14"/>
              </a:cxn>
              <a:cxn ang="15">
                <a:pos x="connsiteX15" y="connsiteY15"/>
              </a:cxn>
              <a:cxn ang="16">
                <a:pos x="connsiteX16" y="connsiteY16"/>
              </a:cxn>
              <a:cxn ang="17">
                <a:pos x="connsiteX17" y="connsiteY17"/>
              </a:cxn>
              <a:cxn ang="18">
                <a:pos x="connsiteX18" y="connsiteY18"/>
              </a:cxn>
            </a:cxnLst>
            <a:rect l="l" t="t" r="r" b="b"/>
            <a:pathLst>
              <a:path w="7635710" h="3617340">
                <a:moveTo>
                  <a:pt x="0" y="602995"/>
                </a:moveTo>
                <a:cubicBezTo>
                  <a:pt x="0" y="270001"/>
                  <a:pt x="269925" y="0"/>
                  <a:pt x="602957" y="0"/>
                </a:cubicBezTo>
                <a:cubicBezTo>
                  <a:pt x="602957" y="0"/>
                  <a:pt x="602957" y="0"/>
                  <a:pt x="602957" y="0"/>
                </a:cubicBezTo>
                <a:lnTo>
                  <a:pt x="602957" y="0"/>
                </a:lnTo>
                <a:lnTo>
                  <a:pt x="7032841" y="0"/>
                </a:lnTo>
                <a:lnTo>
                  <a:pt x="7032841" y="0"/>
                </a:lnTo>
                <a:cubicBezTo>
                  <a:pt x="7365834" y="0"/>
                  <a:pt x="7635709" y="270001"/>
                  <a:pt x="7635709" y="602995"/>
                </a:cubicBezTo>
                <a:cubicBezTo>
                  <a:pt x="7635709" y="602995"/>
                  <a:pt x="7635709" y="602995"/>
                  <a:pt x="7635709" y="602995"/>
                </a:cubicBezTo>
                <a:lnTo>
                  <a:pt x="7635709" y="602995"/>
                </a:lnTo>
                <a:lnTo>
                  <a:pt x="7635709" y="3014471"/>
                </a:lnTo>
                <a:lnTo>
                  <a:pt x="7635709" y="3014471"/>
                </a:lnTo>
                <a:cubicBezTo>
                  <a:pt x="7635709" y="3347465"/>
                  <a:pt x="7365834" y="3617340"/>
                  <a:pt x="7032841" y="3617340"/>
                </a:cubicBezTo>
                <a:cubicBezTo>
                  <a:pt x="7032841" y="3617340"/>
                  <a:pt x="7032841" y="3617340"/>
                  <a:pt x="7032841" y="3617340"/>
                </a:cubicBezTo>
                <a:lnTo>
                  <a:pt x="7032841" y="3617340"/>
                </a:lnTo>
                <a:lnTo>
                  <a:pt x="602957" y="3617340"/>
                </a:lnTo>
                <a:lnTo>
                  <a:pt x="602957" y="3617340"/>
                </a:lnTo>
                <a:cubicBezTo>
                  <a:pt x="269925" y="3617340"/>
                  <a:pt x="0" y="3347465"/>
                  <a:pt x="0" y="3014471"/>
                </a:cubicBezTo>
                <a:cubicBezTo>
                  <a:pt x="0" y="3014471"/>
                  <a:pt x="0" y="3014471"/>
                  <a:pt x="0" y="3014471"/>
                </a:cubicBezTo>
                <a:lnTo>
                  <a:pt x="0" y="602995"/>
                </a:lnTo>
              </a:path>
            </a:pathLst>
          </a:custGeom>
          <a:solidFill>
            <a:srgbClr val="F6F6F6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zh-CN" altLang="en-US"/>
          </a:p>
        </p:txBody>
      </p:sp>
      <p:sp>
        <p:nvSpPr>
          <p:cNvPr id="2" name="TextBox 1"/>
          <p:cNvSpPr txBox="1"/>
          <p:nvPr/>
        </p:nvSpPr>
        <p:spPr>
          <a:xfrm>
            <a:off x="8712509" y="6410296"/>
            <a:ext cx="102592" cy="135012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686"/>
              </a:lnSpc>
            </a:pPr>
            <a:r>
              <a:rPr lang="en-US" altLang="zh-CN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10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609876" y="672148"/>
            <a:ext cx="7829387" cy="4559300"/>
          </a:xfrm>
          <a:prstGeom prst="rect">
            <a:avLst/>
          </a:prstGeom>
          <a:noFill/>
        </p:spPr>
        <p:txBody>
          <a:bodyPr wrap="none" lIns="0" tIns="0" rIns="0" bIns="44806" rtlCol="0">
            <a:spAutoFit/>
          </a:bodyPr>
          <a:lstStyle/>
          <a:p>
            <a:pPr>
              <a:lnSpc>
                <a:spcPts val="1960"/>
              </a:lnSpc>
              <a:tabLst>
                <a:tab pos="584962" algn="l"/>
                <a:tab pos="1891792" algn="l"/>
                <a:tab pos="2551430" algn="l"/>
                <a:tab pos="2713228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1.Нормировани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труда:</a:t>
            </a:r>
          </a:p>
          <a:p>
            <a:pPr>
              <a:lnSpc>
                <a:spcPts val="2058"/>
              </a:lnSpc>
              <a:tabLst>
                <a:tab pos="584962" algn="l"/>
                <a:tab pos="1891792" algn="l"/>
                <a:tab pos="2551430" algn="l"/>
                <a:tab pos="2713228" algn="l"/>
              </a:tabLst>
            </a:pP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законодательные</a:t>
            </a:r>
            <a:r>
              <a:rPr lang="en-US" altLang="zh-CN" sz="1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dirty="0">
                <a:solidFill>
                  <a:srgbClr val="C82B1A"/>
                </a:solidFill>
                <a:latin typeface="Times New Roman" pitchFamily="18" charset="0"/>
                <a:cs typeface="Times New Roman" pitchFamily="18" charset="0"/>
              </a:rPr>
              <a:t>основы</a:t>
            </a:r>
          </a:p>
          <a:p>
            <a:pPr>
              <a:lnSpc>
                <a:spcPts val="3528"/>
              </a:lnSpc>
              <a:tabLst>
                <a:tab pos="584962" algn="l"/>
                <a:tab pos="1891792" algn="l"/>
                <a:tab pos="2551430" algn="l"/>
                <a:tab pos="2713228" algn="l"/>
              </a:tabLst>
            </a:pPr>
            <a:r>
              <a:rPr lang="en-US" altLang="zh-CN" dirty="0" smtClean="0"/>
              <a:t>				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Глава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22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К</a:t>
            </a:r>
            <a:r>
              <a:rPr lang="en-US" altLang="zh-CN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Ф</a:t>
            </a:r>
          </a:p>
          <a:p>
            <a:pPr>
              <a:lnSpc>
                <a:spcPts val="1862"/>
              </a:lnSpc>
              <a:tabLst>
                <a:tab pos="584962" algn="l"/>
                <a:tab pos="1891792" algn="l"/>
                <a:tab pos="2551430" algn="l"/>
                <a:tab pos="2713228" algn="l"/>
              </a:tabLst>
            </a:pPr>
            <a:r>
              <a:rPr lang="en-US" altLang="zh-CN" dirty="0" smtClean="0"/>
              <a:t>	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основны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ть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ированию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)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1960"/>
              </a:lnSpc>
              <a:tabLst>
                <a:tab pos="584962" algn="l"/>
                <a:tab pos="1891792" algn="l"/>
                <a:tab pos="2551430" algn="l"/>
                <a:tab pos="2713228" algn="l"/>
              </a:tabLst>
            </a:pPr>
            <a:r>
              <a:rPr lang="en-US" altLang="zh-CN" dirty="0" smtClean="0"/>
              <a:t>			</a:t>
            </a:r>
            <a:r>
              <a:rPr lang="en-US" altLang="zh-CN" sz="1600" u="sng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татья 160. Нормы труда</a:t>
            </a:r>
          </a:p>
          <a:p>
            <a:pPr>
              <a:lnSpc>
                <a:spcPts val="980"/>
              </a:lnSpc>
            </a:pPr>
            <a:endParaRPr lang="en-US" altLang="zh-CN" dirty="0" smtClean="0"/>
          </a:p>
          <a:p>
            <a:pPr>
              <a:lnSpc>
                <a:spcPts val="980"/>
              </a:lnSpc>
            </a:pPr>
            <a:endParaRPr lang="en-US" altLang="zh-CN" sz="1600" dirty="0"/>
          </a:p>
          <a:p>
            <a:pPr>
              <a:lnSpc>
                <a:spcPts val="2254"/>
              </a:lnSpc>
              <a:tabLst>
                <a:tab pos="584962" algn="l"/>
                <a:tab pos="1891792" algn="l"/>
                <a:tab pos="2551430" algn="l"/>
                <a:tab pos="2713228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работк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ремен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атив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численно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ругие</a:t>
            </a:r>
          </a:p>
          <a:p>
            <a:pPr>
              <a:lnSpc>
                <a:spcPts val="1568"/>
              </a:lnSpc>
              <a:tabLst>
                <a:tab pos="584962" algn="l"/>
                <a:tab pos="1891792" algn="l"/>
                <a:tab pos="2551430" algn="l"/>
                <a:tab pos="2713228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-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авливаю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ответств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стигнуты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ровне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ики,</a:t>
            </a:r>
          </a:p>
          <a:p>
            <a:pPr>
              <a:lnSpc>
                <a:spcPts val="1568"/>
              </a:lnSpc>
              <a:tabLst>
                <a:tab pos="584962" algn="l"/>
                <a:tab pos="1891792" algn="l"/>
                <a:tab pos="2551430" algn="l"/>
                <a:tab pos="2713228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ологи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изводств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.</a:t>
            </a:r>
          </a:p>
          <a:p>
            <a:pPr>
              <a:lnSpc>
                <a:spcPts val="1960"/>
              </a:lnSpc>
              <a:tabLst>
                <a:tab pos="584962" algn="l"/>
                <a:tab pos="1891792" algn="l"/>
                <a:tab pos="2551430" algn="l"/>
                <a:tab pos="2713228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огу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быть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отрены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р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вершенств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ли</a:t>
            </a:r>
          </a:p>
          <a:p>
            <a:pPr>
              <a:lnSpc>
                <a:spcPts val="1568"/>
              </a:lnSpc>
              <a:tabLst>
                <a:tab pos="584962" algn="l"/>
                <a:tab pos="1891792" algn="l"/>
                <a:tab pos="2551430" algn="l"/>
                <a:tab pos="2713228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недр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вой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ики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ехнолог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вед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рганизацион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либо</a:t>
            </a:r>
          </a:p>
          <a:p>
            <a:pPr>
              <a:lnSpc>
                <a:spcPts val="1568"/>
              </a:lnSpc>
              <a:tabLst>
                <a:tab pos="584962" algn="l"/>
                <a:tab pos="1891792" algn="l"/>
                <a:tab pos="2551430" algn="l"/>
                <a:tab pos="2713228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роприятий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еспечивающи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ос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изводительност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,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а</a:t>
            </a:r>
          </a:p>
          <a:p>
            <a:pPr>
              <a:lnSpc>
                <a:spcPts val="1568"/>
              </a:lnSpc>
              <a:tabLst>
                <a:tab pos="584962" algn="l"/>
                <a:tab pos="1891792" algn="l"/>
                <a:tab pos="2551430" algn="l"/>
                <a:tab pos="2713228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акж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луча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спольз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физичес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оральн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ревшего</a:t>
            </a:r>
          </a:p>
          <a:p>
            <a:pPr>
              <a:lnSpc>
                <a:spcPts val="1568"/>
              </a:lnSpc>
              <a:tabLst>
                <a:tab pos="584962" algn="l"/>
                <a:tab pos="1891792" algn="l"/>
                <a:tab pos="2551430" algn="l"/>
                <a:tab pos="2713228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борудования.</a:t>
            </a:r>
          </a:p>
          <a:p>
            <a:pPr>
              <a:lnSpc>
                <a:spcPts val="1960"/>
              </a:lnSpc>
              <a:tabLst>
                <a:tab pos="584962" algn="l"/>
                <a:tab pos="1891792" algn="l"/>
                <a:tab pos="2551430" algn="l"/>
                <a:tab pos="2713228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остижени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соког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ровн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выработк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одукци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(оказ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луг)</a:t>
            </a:r>
          </a:p>
          <a:p>
            <a:pPr>
              <a:lnSpc>
                <a:spcPts val="1568"/>
              </a:lnSpc>
              <a:tabLst>
                <a:tab pos="584962" algn="l"/>
                <a:tab pos="1891792" algn="l"/>
                <a:tab pos="2551430" algn="l"/>
                <a:tab pos="2713228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тдельным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тникам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з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че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мене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нициатив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вых</a:t>
            </a:r>
          </a:p>
          <a:p>
            <a:pPr>
              <a:lnSpc>
                <a:spcPts val="1568"/>
              </a:lnSpc>
              <a:tabLst>
                <a:tab pos="584962" algn="l"/>
                <a:tab pos="1891792" algn="l"/>
                <a:tab pos="2551430" algn="l"/>
                <a:tab pos="2713228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риемов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и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совершенствовани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бочи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мест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являетс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основанием</a:t>
            </a:r>
          </a:p>
          <a:p>
            <a:pPr>
              <a:lnSpc>
                <a:spcPts val="1568"/>
              </a:lnSpc>
              <a:tabLst>
                <a:tab pos="584962" algn="l"/>
                <a:tab pos="1891792" algn="l"/>
                <a:tab pos="2551430" algn="l"/>
                <a:tab pos="2713228" algn="l"/>
              </a:tabLst>
            </a:pPr>
            <a:r>
              <a:rPr lang="en-US" altLang="zh-CN" sz="1600" dirty="0"/>
              <a:t>	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пересмотра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ранее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установленных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норм</a:t>
            </a:r>
            <a:r>
              <a:rPr lang="en-US" altLang="zh-CN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600" dirty="0">
                <a:solidFill>
                  <a:srgbClr val="323937"/>
                </a:solidFill>
                <a:latin typeface="Times New Roman" pitchFamily="18" charset="0"/>
                <a:cs typeface="Times New Roman" pitchFamily="18" charset="0"/>
              </a:rPr>
              <a:t>труда.</a:t>
            </a:r>
          </a:p>
        </p:txBody>
      </p:sp>
    </p:spTree>
    <p:extLst>
      <p:ext uri="{BB962C8B-B14F-4D97-AF65-F5344CB8AC3E}">
        <p14:creationId xmlns:p14="http://schemas.microsoft.com/office/powerpoint/2010/main" val="3929755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4478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 val=&quot;,&quot;&gt;,&lt;/m_chDecimalSymbol&gt;&lt;m_nGroupingDigits val=&quot;3&quot;/&gt;&lt;m_chGroupingSymbol val=&quot;.&quot;&gt;.&lt;/m_chGroupingSymbol&gt;&lt;/m_precDefault&gt;&lt;/CDefaultPrec&gt;&lt;/root&gt;"/>
  <p:tag name="THINKCELLUNDODONOTDELETE" val="72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heme/theme1.xml><?xml version="1.0" encoding="utf-8"?>
<a:theme xmlns:a="http://schemas.openxmlformats.org/drawingml/2006/main" name="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894</TotalTime>
  <Words>2676</Words>
  <Application>Microsoft Office PowerPoint</Application>
  <PresentationFormat>Произвольный</PresentationFormat>
  <Paragraphs>1507</Paragraphs>
  <Slides>80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80</vt:i4>
      </vt:variant>
    </vt:vector>
  </HeadingPairs>
  <TitlesOfParts>
    <vt:vector size="81" baseType="lpstr">
      <vt:lpstr>Universal Template_RU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Corpora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</dc:title>
  <dc:creator>Corporate</dc:creator>
  <cp:keywords>Message Universal Template A4</cp:keywords>
  <dc:description>Version 1.1</dc:description>
  <cp:lastModifiedBy>Дергаусова М.М.</cp:lastModifiedBy>
  <cp:revision>3067</cp:revision>
  <cp:lastPrinted>2006-06-08T13:53:29Z</cp:lastPrinted>
  <dcterms:created xsi:type="dcterms:W3CDTF">2006-03-07T14:01:06Z</dcterms:created>
  <dcterms:modified xsi:type="dcterms:W3CDTF">2014-05-23T08:41:38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Event">
    <vt:lpwstr>Документ для ИК</vt:lpwstr>
  </property>
  <property fmtid="{D5CDD505-2E9C-101B-9397-08002B2CF9AE}" pid="6" name="Delivery Date">
    <vt:lpwstr>Москва, 13 июня 2006 г.</vt:lpwstr>
  </property>
  <property fmtid="{D5CDD505-2E9C-101B-9397-08002B2CF9AE}" pid="7" name="Title">
    <vt:lpwstr>Название</vt:lpwstr>
  </property>
  <property fmtid="{D5CDD505-2E9C-101B-9397-08002B2CF9AE}" pid="8" name="Final">
    <vt:bool>true</vt:bool>
  </property>
  <property fmtid="{D5CDD505-2E9C-101B-9397-08002B2CF9AE}" pid="9" name="DocID">
    <vt:lpwstr>MOS-ROS005-200600608-SS1wm-r_c</vt:lpwstr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1</vt:i4>
  </property>
</Properties>
</file>